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5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6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7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8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9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0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4174" r:id="rId2"/>
    <p:sldMasterId id="2147484184" r:id="rId3"/>
    <p:sldMasterId id="2147484190" r:id="rId4"/>
  </p:sldMasterIdLst>
  <p:notesMasterIdLst>
    <p:notesMasterId r:id="rId29"/>
  </p:notesMasterIdLst>
  <p:sldIdLst>
    <p:sldId id="2081" r:id="rId5"/>
    <p:sldId id="2085" r:id="rId6"/>
    <p:sldId id="2086" r:id="rId7"/>
    <p:sldId id="2114" r:id="rId8"/>
    <p:sldId id="2076" r:id="rId9"/>
    <p:sldId id="2107" r:id="rId10"/>
    <p:sldId id="2101" r:id="rId11"/>
    <p:sldId id="2113" r:id="rId12"/>
    <p:sldId id="2110" r:id="rId13"/>
    <p:sldId id="2098" r:id="rId14"/>
    <p:sldId id="2088" r:id="rId15"/>
    <p:sldId id="2084" r:id="rId16"/>
    <p:sldId id="2108" r:id="rId17"/>
    <p:sldId id="1772" r:id="rId18"/>
    <p:sldId id="2105" r:id="rId19"/>
    <p:sldId id="2083" r:id="rId20"/>
    <p:sldId id="2100" r:id="rId21"/>
    <p:sldId id="2089" r:id="rId22"/>
    <p:sldId id="1989" r:id="rId23"/>
    <p:sldId id="2090" r:id="rId24"/>
    <p:sldId id="1842" r:id="rId25"/>
    <p:sldId id="2102" r:id="rId26"/>
    <p:sldId id="2103" r:id="rId27"/>
    <p:sldId id="2104" r:id="rId28"/>
  </p:sldIdLst>
  <p:sldSz cx="12192000" cy="6858000"/>
  <p:notesSz cx="6858000" cy="9144000"/>
  <p:custDataLst>
    <p:tags r:id="rId3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chová Anna Mgr." initials="KAM" lastIdx="1" clrIdx="0">
    <p:extLst>
      <p:ext uri="{19B8F6BF-5375-455C-9EA6-DF929625EA0E}">
        <p15:presenceInfo xmlns:p15="http://schemas.microsoft.com/office/powerpoint/2012/main" userId="Klechová Anna Mg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4DE5F5"/>
    <a:srgbClr val="F7E7E9"/>
    <a:srgbClr val="FBCBD8"/>
    <a:srgbClr val="C00000"/>
    <a:srgbClr val="FFFFFF"/>
    <a:srgbClr val="FFCCFF"/>
    <a:srgbClr val="305983"/>
    <a:srgbClr val="D31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3721" autoAdjust="0"/>
  </p:normalViewPr>
  <p:slideViewPr>
    <p:cSldViewPr snapToGrid="0">
      <p:cViewPr varScale="1">
        <p:scale>
          <a:sx n="107" d="100"/>
          <a:sy n="107" d="100"/>
        </p:scale>
        <p:origin x="108" y="114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78069204330972E-2"/>
          <c:y val="8.3481760709576552E-2"/>
          <c:w val="0.91740097734358894"/>
          <c:h val="0.7417896241201473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5</c:f>
              <c:numCache>
                <c:formatCode>m/d/yyyy</c:formatCode>
                <c:ptCount val="54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</c:numCache>
            </c:numRef>
          </c:cat>
          <c:val>
            <c:numRef>
              <c:f>List1!$B$2:$B$55</c:f>
              <c:numCache>
                <c:formatCode>General</c:formatCode>
                <c:ptCount val="54"/>
                <c:pt idx="0">
                  <c:v>380074</c:v>
                </c:pt>
                <c:pt idx="1">
                  <c:v>400266</c:v>
                </c:pt>
                <c:pt idx="2">
                  <c:v>418771</c:v>
                </c:pt>
                <c:pt idx="3">
                  <c:v>785857</c:v>
                </c:pt>
                <c:pt idx="4">
                  <c:v>799538</c:v>
                </c:pt>
                <c:pt idx="5">
                  <c:v>799695</c:v>
                </c:pt>
                <c:pt idx="6">
                  <c:v>800741</c:v>
                </c:pt>
                <c:pt idx="7">
                  <c:v>1209018</c:v>
                </c:pt>
                <c:pt idx="8">
                  <c:v>1234433</c:v>
                </c:pt>
                <c:pt idx="9">
                  <c:v>1260580</c:v>
                </c:pt>
                <c:pt idx="10">
                  <c:v>1644355</c:v>
                </c:pt>
                <c:pt idx="11">
                  <c:v>1662523</c:v>
                </c:pt>
                <c:pt idx="12">
                  <c:v>1662664</c:v>
                </c:pt>
                <c:pt idx="13">
                  <c:v>1665873</c:v>
                </c:pt>
                <c:pt idx="14">
                  <c:v>2103054</c:v>
                </c:pt>
                <c:pt idx="15">
                  <c:v>2149719</c:v>
                </c:pt>
                <c:pt idx="16">
                  <c:v>2197815</c:v>
                </c:pt>
                <c:pt idx="17">
                  <c:v>2620675</c:v>
                </c:pt>
                <c:pt idx="18">
                  <c:v>2659902</c:v>
                </c:pt>
                <c:pt idx="19">
                  <c:v>2660067</c:v>
                </c:pt>
                <c:pt idx="20">
                  <c:v>2663394</c:v>
                </c:pt>
                <c:pt idx="21">
                  <c:v>3135780</c:v>
                </c:pt>
                <c:pt idx="22">
                  <c:v>3168741</c:v>
                </c:pt>
                <c:pt idx="23">
                  <c:v>3199547</c:v>
                </c:pt>
                <c:pt idx="24">
                  <c:v>3304407</c:v>
                </c:pt>
                <c:pt idx="25">
                  <c:v>3326012</c:v>
                </c:pt>
                <c:pt idx="26">
                  <c:v>3326603</c:v>
                </c:pt>
                <c:pt idx="27">
                  <c:v>3330124</c:v>
                </c:pt>
                <c:pt idx="28">
                  <c:v>3843569</c:v>
                </c:pt>
                <c:pt idx="29">
                  <c:v>3879037</c:v>
                </c:pt>
                <c:pt idx="30">
                  <c:v>3905239</c:v>
                </c:pt>
                <c:pt idx="31">
                  <c:v>4088742</c:v>
                </c:pt>
                <c:pt idx="32">
                  <c:v>4102496</c:v>
                </c:pt>
                <c:pt idx="33">
                  <c:v>4102522</c:v>
                </c:pt>
                <c:pt idx="34">
                  <c:v>4698722</c:v>
                </c:pt>
                <c:pt idx="35">
                  <c:v>4871992</c:v>
                </c:pt>
                <c:pt idx="36">
                  <c:v>4915558</c:v>
                </c:pt>
                <c:pt idx="37">
                  <c:v>4955576</c:v>
                </c:pt>
                <c:pt idx="38">
                  <c:v>5070066</c:v>
                </c:pt>
                <c:pt idx="39">
                  <c:v>5090195</c:v>
                </c:pt>
                <c:pt idx="40">
                  <c:v>5106691</c:v>
                </c:pt>
                <c:pt idx="41">
                  <c:v>5114175</c:v>
                </c:pt>
                <c:pt idx="42">
                  <c:v>5956713</c:v>
                </c:pt>
                <c:pt idx="43">
                  <c:v>6046619</c:v>
                </c:pt>
                <c:pt idx="44">
                  <c:v>6107443</c:v>
                </c:pt>
                <c:pt idx="45">
                  <c:v>6141760</c:v>
                </c:pt>
                <c:pt idx="46">
                  <c:v>6153577</c:v>
                </c:pt>
                <c:pt idx="47">
                  <c:v>6167571</c:v>
                </c:pt>
                <c:pt idx="48">
                  <c:v>6173874</c:v>
                </c:pt>
                <c:pt idx="49">
                  <c:v>6982664</c:v>
                </c:pt>
                <c:pt idx="50">
                  <c:v>7082158</c:v>
                </c:pt>
                <c:pt idx="51">
                  <c:v>7127051</c:v>
                </c:pt>
                <c:pt idx="52">
                  <c:v>7158582</c:v>
                </c:pt>
                <c:pt idx="53">
                  <c:v>7170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78A-4B66-9E45-FC701E9D0FDA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78A-4B66-9E45-FC701E9D0F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78A-4B66-9E45-FC701E9D0F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78A-4B66-9E45-FC701E9D0F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78A-4B66-9E45-FC701E9D0F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78A-4B66-9E45-FC701E9D0F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78A-4B66-9E45-FC701E9D0FD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78A-4B66-9E45-FC701E9D0F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78A-4B66-9E45-FC701E9D0F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55</c:f>
              <c:numCache>
                <c:formatCode>m/d/yyyy</c:formatCode>
                <c:ptCount val="54"/>
                <c:pt idx="0">
                  <c:v>44298</c:v>
                </c:pt>
                <c:pt idx="1">
                  <c:v>44299</c:v>
                </c:pt>
                <c:pt idx="2">
                  <c:v>44300</c:v>
                </c:pt>
                <c:pt idx="3">
                  <c:v>44301</c:v>
                </c:pt>
                <c:pt idx="4">
                  <c:v>44302</c:v>
                </c:pt>
                <c:pt idx="5">
                  <c:v>44303</c:v>
                </c:pt>
                <c:pt idx="6">
                  <c:v>44304</c:v>
                </c:pt>
                <c:pt idx="7">
                  <c:v>44305</c:v>
                </c:pt>
                <c:pt idx="8">
                  <c:v>44306</c:v>
                </c:pt>
                <c:pt idx="9">
                  <c:v>44307</c:v>
                </c:pt>
                <c:pt idx="10">
                  <c:v>44308</c:v>
                </c:pt>
                <c:pt idx="11">
                  <c:v>44309</c:v>
                </c:pt>
                <c:pt idx="12">
                  <c:v>44310</c:v>
                </c:pt>
                <c:pt idx="13">
                  <c:v>44311</c:v>
                </c:pt>
                <c:pt idx="14">
                  <c:v>44312</c:v>
                </c:pt>
                <c:pt idx="15">
                  <c:v>44313</c:v>
                </c:pt>
                <c:pt idx="16">
                  <c:v>44314</c:v>
                </c:pt>
                <c:pt idx="17">
                  <c:v>44315</c:v>
                </c:pt>
                <c:pt idx="18">
                  <c:v>44316</c:v>
                </c:pt>
                <c:pt idx="19">
                  <c:v>44317</c:v>
                </c:pt>
                <c:pt idx="20">
                  <c:v>44318</c:v>
                </c:pt>
                <c:pt idx="21">
                  <c:v>44319</c:v>
                </c:pt>
                <c:pt idx="22">
                  <c:v>44320</c:v>
                </c:pt>
                <c:pt idx="23">
                  <c:v>44321</c:v>
                </c:pt>
                <c:pt idx="24">
                  <c:v>44322</c:v>
                </c:pt>
                <c:pt idx="25">
                  <c:v>44323</c:v>
                </c:pt>
                <c:pt idx="26">
                  <c:v>44324</c:v>
                </c:pt>
                <c:pt idx="27">
                  <c:v>44325</c:v>
                </c:pt>
                <c:pt idx="28">
                  <c:v>44326</c:v>
                </c:pt>
                <c:pt idx="29">
                  <c:v>44327</c:v>
                </c:pt>
                <c:pt idx="30">
                  <c:v>44328</c:v>
                </c:pt>
                <c:pt idx="31">
                  <c:v>44329</c:v>
                </c:pt>
                <c:pt idx="32">
                  <c:v>44330</c:v>
                </c:pt>
                <c:pt idx="33">
                  <c:v>44331</c:v>
                </c:pt>
                <c:pt idx="34">
                  <c:v>44332</c:v>
                </c:pt>
                <c:pt idx="35">
                  <c:v>44333</c:v>
                </c:pt>
                <c:pt idx="36">
                  <c:v>44334</c:v>
                </c:pt>
                <c:pt idx="37">
                  <c:v>44335</c:v>
                </c:pt>
                <c:pt idx="38">
                  <c:v>44336</c:v>
                </c:pt>
                <c:pt idx="39">
                  <c:v>44337</c:v>
                </c:pt>
                <c:pt idx="40">
                  <c:v>44338</c:v>
                </c:pt>
                <c:pt idx="41">
                  <c:v>44339</c:v>
                </c:pt>
                <c:pt idx="42">
                  <c:v>44340</c:v>
                </c:pt>
                <c:pt idx="43">
                  <c:v>44341</c:v>
                </c:pt>
                <c:pt idx="44">
                  <c:v>44342</c:v>
                </c:pt>
                <c:pt idx="45">
                  <c:v>44343</c:v>
                </c:pt>
                <c:pt idx="46">
                  <c:v>44344</c:v>
                </c:pt>
                <c:pt idx="47">
                  <c:v>44345</c:v>
                </c:pt>
                <c:pt idx="48">
                  <c:v>44346</c:v>
                </c:pt>
                <c:pt idx="49">
                  <c:v>44347</c:v>
                </c:pt>
                <c:pt idx="50">
                  <c:v>44348</c:v>
                </c:pt>
                <c:pt idx="51">
                  <c:v>44349</c:v>
                </c:pt>
                <c:pt idx="52">
                  <c:v>44350</c:v>
                </c:pt>
                <c:pt idx="53">
                  <c:v>44351</c:v>
                </c:pt>
              </c:numCache>
            </c:numRef>
          </c:cat>
          <c:val>
            <c:numRef>
              <c:f>List1!$C$2:$C$55</c:f>
              <c:numCache>
                <c:formatCode>General</c:formatCode>
                <c:ptCount val="54"/>
                <c:pt idx="0">
                  <c:v>147838</c:v>
                </c:pt>
                <c:pt idx="1">
                  <c:v>160889</c:v>
                </c:pt>
                <c:pt idx="2">
                  <c:v>171139</c:v>
                </c:pt>
                <c:pt idx="3">
                  <c:v>280026</c:v>
                </c:pt>
                <c:pt idx="4">
                  <c:v>287848</c:v>
                </c:pt>
                <c:pt idx="5">
                  <c:v>287925</c:v>
                </c:pt>
                <c:pt idx="6">
                  <c:v>288226</c:v>
                </c:pt>
                <c:pt idx="7">
                  <c:v>432044</c:v>
                </c:pt>
                <c:pt idx="8">
                  <c:v>443327</c:v>
                </c:pt>
                <c:pt idx="9">
                  <c:v>453390</c:v>
                </c:pt>
                <c:pt idx="10">
                  <c:v>560060</c:v>
                </c:pt>
                <c:pt idx="11">
                  <c:v>567250</c:v>
                </c:pt>
                <c:pt idx="12">
                  <c:v>567349</c:v>
                </c:pt>
                <c:pt idx="13">
                  <c:v>567718</c:v>
                </c:pt>
                <c:pt idx="14">
                  <c:v>700427</c:v>
                </c:pt>
                <c:pt idx="15">
                  <c:v>711391</c:v>
                </c:pt>
                <c:pt idx="16">
                  <c:v>721090</c:v>
                </c:pt>
                <c:pt idx="17">
                  <c:v>815397</c:v>
                </c:pt>
                <c:pt idx="18">
                  <c:v>822639</c:v>
                </c:pt>
                <c:pt idx="19">
                  <c:v>822702</c:v>
                </c:pt>
                <c:pt idx="20">
                  <c:v>823016</c:v>
                </c:pt>
                <c:pt idx="21">
                  <c:v>951222</c:v>
                </c:pt>
                <c:pt idx="22">
                  <c:v>960945</c:v>
                </c:pt>
                <c:pt idx="23">
                  <c:v>966691</c:v>
                </c:pt>
                <c:pt idx="24">
                  <c:v>974278</c:v>
                </c:pt>
                <c:pt idx="25">
                  <c:v>977769</c:v>
                </c:pt>
                <c:pt idx="26">
                  <c:v>977826</c:v>
                </c:pt>
                <c:pt idx="27">
                  <c:v>978152</c:v>
                </c:pt>
                <c:pt idx="28">
                  <c:v>1101070</c:v>
                </c:pt>
                <c:pt idx="29">
                  <c:v>1110134</c:v>
                </c:pt>
                <c:pt idx="30">
                  <c:v>1114207</c:v>
                </c:pt>
                <c:pt idx="31">
                  <c:v>1119856</c:v>
                </c:pt>
                <c:pt idx="32">
                  <c:v>1121574</c:v>
                </c:pt>
                <c:pt idx="33">
                  <c:v>1121586</c:v>
                </c:pt>
                <c:pt idx="34">
                  <c:v>1218244</c:v>
                </c:pt>
                <c:pt idx="35">
                  <c:v>1249114</c:v>
                </c:pt>
                <c:pt idx="36">
                  <c:v>1257503</c:v>
                </c:pt>
                <c:pt idx="37">
                  <c:v>1263983</c:v>
                </c:pt>
                <c:pt idx="38">
                  <c:v>1269116</c:v>
                </c:pt>
                <c:pt idx="39">
                  <c:v>1271209</c:v>
                </c:pt>
                <c:pt idx="40">
                  <c:v>1273090</c:v>
                </c:pt>
                <c:pt idx="41">
                  <c:v>1273293</c:v>
                </c:pt>
                <c:pt idx="42">
                  <c:v>1363578</c:v>
                </c:pt>
                <c:pt idx="43">
                  <c:v>1374784</c:v>
                </c:pt>
                <c:pt idx="44">
                  <c:v>1380014</c:v>
                </c:pt>
                <c:pt idx="45">
                  <c:v>1384073</c:v>
                </c:pt>
                <c:pt idx="46">
                  <c:v>1385471</c:v>
                </c:pt>
                <c:pt idx="47">
                  <c:v>1386899</c:v>
                </c:pt>
                <c:pt idx="48">
                  <c:v>1387006</c:v>
                </c:pt>
                <c:pt idx="49">
                  <c:v>1447522</c:v>
                </c:pt>
                <c:pt idx="50">
                  <c:v>1456357</c:v>
                </c:pt>
                <c:pt idx="51">
                  <c:v>1459827</c:v>
                </c:pt>
                <c:pt idx="52">
                  <c:v>1462418</c:v>
                </c:pt>
                <c:pt idx="53">
                  <c:v>1463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578A-4B66-9E45-FC701E9D0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dateAx>
        <c:axId val="4884452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Offset val="100"/>
        <c:baseTimeUnit val="days"/>
        <c:majorUnit val="1"/>
      </c:date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4560783597242141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441.08656323803501</c:v>
                </c:pt>
                <c:pt idx="1">
                  <c:v>504.97410116735398</c:v>
                </c:pt>
                <c:pt idx="2">
                  <c:v>651.87793104396701</c:v>
                </c:pt>
                <c:pt idx="3">
                  <c:v>543.73170734756604</c:v>
                </c:pt>
                <c:pt idx="4">
                  <c:v>294.43278243355201</c:v>
                </c:pt>
                <c:pt idx="5">
                  <c:v>212.291662238714</c:v>
                </c:pt>
                <c:pt idx="6">
                  <c:v>183.28596987158701</c:v>
                </c:pt>
                <c:pt idx="7">
                  <c:v>154.78037564872099</c:v>
                </c:pt>
                <c:pt idx="8">
                  <c:v>117.77311297342099</c:v>
                </c:pt>
                <c:pt idx="9">
                  <c:v>180.78547915028301</c:v>
                </c:pt>
                <c:pt idx="10">
                  <c:v>184.411190696174</c:v>
                </c:pt>
                <c:pt idx="11">
                  <c:v>264.551918313969</c:v>
                </c:pt>
                <c:pt idx="12">
                  <c:v>194.66320265351999</c:v>
                </c:pt>
                <c:pt idx="13">
                  <c:v>235.921299555037</c:v>
                </c:pt>
                <c:pt idx="14">
                  <c:v>556.60923456228204</c:v>
                </c:pt>
                <c:pt idx="15">
                  <c:v>798.65673638451506</c:v>
                </c:pt>
                <c:pt idx="16">
                  <c:v>777.65261432556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5030486293927378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816.02504662748402</c:v>
                </c:pt>
                <c:pt idx="1">
                  <c:v>930.434261417122</c:v>
                </c:pt>
                <c:pt idx="2">
                  <c:v>1151.1435632917401</c:v>
                </c:pt>
                <c:pt idx="3">
                  <c:v>1095.08481089866</c:v>
                </c:pt>
                <c:pt idx="4">
                  <c:v>759.261152694874</c:v>
                </c:pt>
                <c:pt idx="5">
                  <c:v>623.52140633428598</c:v>
                </c:pt>
                <c:pt idx="6">
                  <c:v>530.442723115597</c:v>
                </c:pt>
                <c:pt idx="7">
                  <c:v>431.37033681085597</c:v>
                </c:pt>
                <c:pt idx="8">
                  <c:v>325.77539126541097</c:v>
                </c:pt>
                <c:pt idx="9">
                  <c:v>340.23079282588901</c:v>
                </c:pt>
                <c:pt idx="10">
                  <c:v>292.45745352235798</c:v>
                </c:pt>
                <c:pt idx="11">
                  <c:v>275.18148580373702</c:v>
                </c:pt>
                <c:pt idx="12">
                  <c:v>239.04298190254201</c:v>
                </c:pt>
                <c:pt idx="13">
                  <c:v>230.05242727346399</c:v>
                </c:pt>
                <c:pt idx="14">
                  <c:v>267.072358099079</c:v>
                </c:pt>
                <c:pt idx="15">
                  <c:v>191.26964259901001</c:v>
                </c:pt>
                <c:pt idx="16">
                  <c:v>164.650549481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8.9243512370193803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984.12261619810999</c:v>
                </c:pt>
                <c:pt idx="1">
                  <c:v>1136.30163470867</c:v>
                </c:pt>
                <c:pt idx="2">
                  <c:v>1398.0780133936501</c:v>
                </c:pt>
                <c:pt idx="3">
                  <c:v>1529.97440356025</c:v>
                </c:pt>
                <c:pt idx="4">
                  <c:v>1556.18762498724</c:v>
                </c:pt>
                <c:pt idx="5">
                  <c:v>1519.8923953190999</c:v>
                </c:pt>
                <c:pt idx="6">
                  <c:v>1325.4875540573501</c:v>
                </c:pt>
                <c:pt idx="7">
                  <c:v>1075.3351378151201</c:v>
                </c:pt>
                <c:pt idx="8">
                  <c:v>949.72517631653204</c:v>
                </c:pt>
                <c:pt idx="9">
                  <c:v>947.47155094497998</c:v>
                </c:pt>
                <c:pt idx="10">
                  <c:v>904.29683330051705</c:v>
                </c:pt>
                <c:pt idx="11">
                  <c:v>982.46205013486099</c:v>
                </c:pt>
                <c:pt idx="12">
                  <c:v>1144.72307688658</c:v>
                </c:pt>
                <c:pt idx="13">
                  <c:v>1315.0497102312199</c:v>
                </c:pt>
                <c:pt idx="14">
                  <c:v>1971.32914079939</c:v>
                </c:pt>
                <c:pt idx="15">
                  <c:v>1710.62026886936</c:v>
                </c:pt>
                <c:pt idx="16">
                  <c:v>1766.9609031581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691280497940653E-2"/>
                  <c:y val="-8.9243512370193817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0.421607378129</c:v>
                </c:pt>
                <c:pt idx="1">
                  <c:v>19.584382871536</c:v>
                </c:pt>
                <c:pt idx="2">
                  <c:v>21.362530413624999</c:v>
                </c:pt>
                <c:pt idx="3">
                  <c:v>18.853171155516002</c:v>
                </c:pt>
                <c:pt idx="4">
                  <c:v>24.172185430462999</c:v>
                </c:pt>
                <c:pt idx="5">
                  <c:v>24.003189792663001</c:v>
                </c:pt>
                <c:pt idx="6">
                  <c:v>21.000981354267999</c:v>
                </c:pt>
                <c:pt idx="7">
                  <c:v>20.129032258064001</c:v>
                </c:pt>
                <c:pt idx="8">
                  <c:v>20.605187319883999</c:v>
                </c:pt>
                <c:pt idx="9">
                  <c:v>17.169069462646998</c:v>
                </c:pt>
                <c:pt idx="10">
                  <c:v>15.739268680445001</c:v>
                </c:pt>
                <c:pt idx="11">
                  <c:v>10.990712074303</c:v>
                </c:pt>
                <c:pt idx="12">
                  <c:v>10.375939849624</c:v>
                </c:pt>
                <c:pt idx="13">
                  <c:v>7.6040172166420001</c:v>
                </c:pt>
                <c:pt idx="14">
                  <c:v>2.9729729729719998</c:v>
                </c:pt>
                <c:pt idx="15">
                  <c:v>1.997146932952</c:v>
                </c:pt>
                <c:pt idx="16">
                  <c:v>2.769679300291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4.3003404564455852E-2"/>
                  <c:y val="-0.18788107867409221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DC-4226-9A77-4315FCD6D27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18.140589569159999</c:v>
                </c:pt>
                <c:pt idx="1">
                  <c:v>20.698192621935998</c:v>
                </c:pt>
                <c:pt idx="2">
                  <c:v>19.965477560414001</c:v>
                </c:pt>
                <c:pt idx="3">
                  <c:v>20.832375258679999</c:v>
                </c:pt>
                <c:pt idx="4">
                  <c:v>27.940552016984999</c:v>
                </c:pt>
                <c:pt idx="5">
                  <c:v>26.442873969375</c:v>
                </c:pt>
                <c:pt idx="6">
                  <c:v>25.306957708049001</c:v>
                </c:pt>
                <c:pt idx="7">
                  <c:v>20.678513731824999</c:v>
                </c:pt>
                <c:pt idx="8">
                  <c:v>21.443736730360001</c:v>
                </c:pt>
                <c:pt idx="9">
                  <c:v>18.118948824343001</c:v>
                </c:pt>
                <c:pt idx="10">
                  <c:v>13.084745762711</c:v>
                </c:pt>
                <c:pt idx="11">
                  <c:v>8.7429111531189996</c:v>
                </c:pt>
                <c:pt idx="12">
                  <c:v>9.3770070648679997</c:v>
                </c:pt>
                <c:pt idx="13">
                  <c:v>4.7164811870690002</c:v>
                </c:pt>
                <c:pt idx="14">
                  <c:v>2.1338724168910002</c:v>
                </c:pt>
                <c:pt idx="15">
                  <c:v>0.78271759549099995</c:v>
                </c:pt>
                <c:pt idx="16">
                  <c:v>0.675241157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DC-4226-9A77-4315FCD6D2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6.2550406639208522E-2"/>
                  <c:y val="-0.20666918654150146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3BA-40DA-B60C-C8A480E48534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7.224536160545</c:v>
                </c:pt>
                <c:pt idx="1">
                  <c:v>26.127762640023999</c:v>
                </c:pt>
                <c:pt idx="2">
                  <c:v>33.304916169366003</c:v>
                </c:pt>
                <c:pt idx="3">
                  <c:v>29.988193624556999</c:v>
                </c:pt>
                <c:pt idx="4">
                  <c:v>33.262430204731999</c:v>
                </c:pt>
                <c:pt idx="5">
                  <c:v>27.828467153283999</c:v>
                </c:pt>
                <c:pt idx="6">
                  <c:v>25.277082588487001</c:v>
                </c:pt>
                <c:pt idx="7">
                  <c:v>20.016785564414</c:v>
                </c:pt>
                <c:pt idx="8">
                  <c:v>18.941233608547002</c:v>
                </c:pt>
                <c:pt idx="9">
                  <c:v>16.235693090291999</c:v>
                </c:pt>
                <c:pt idx="10">
                  <c:v>13.333333333333</c:v>
                </c:pt>
                <c:pt idx="11">
                  <c:v>11.541889483065001</c:v>
                </c:pt>
                <c:pt idx="12">
                  <c:v>6.472081218274</c:v>
                </c:pt>
                <c:pt idx="13">
                  <c:v>4.2903320599469996</c:v>
                </c:pt>
                <c:pt idx="14">
                  <c:v>1.7850408548079999</c:v>
                </c:pt>
                <c:pt idx="15">
                  <c:v>0.89247032319499997</c:v>
                </c:pt>
                <c:pt idx="16">
                  <c:v>0.972644376898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BA-40DA-B60C-C8A480E48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7.8188008299010653E-3"/>
                  <c:y val="-0.12681972810501224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CE-4A2A-887C-F4A54C3D8656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2.575070209547999</c:v>
                </c:pt>
                <c:pt idx="1">
                  <c:v>24.478969306555001</c:v>
                </c:pt>
                <c:pt idx="2">
                  <c:v>26.003062787135999</c:v>
                </c:pt>
                <c:pt idx="3">
                  <c:v>27.623953638119001</c:v>
                </c:pt>
                <c:pt idx="4">
                  <c:v>36.080798699791004</c:v>
                </c:pt>
                <c:pt idx="5">
                  <c:v>38.054848741870998</c:v>
                </c:pt>
                <c:pt idx="6">
                  <c:v>38.484546360917001</c:v>
                </c:pt>
                <c:pt idx="7">
                  <c:v>34.859011033919003</c:v>
                </c:pt>
                <c:pt idx="8">
                  <c:v>33.387445887444997</c:v>
                </c:pt>
                <c:pt idx="9">
                  <c:v>28.808290155440002</c:v>
                </c:pt>
                <c:pt idx="10">
                  <c:v>25.678119349005001</c:v>
                </c:pt>
                <c:pt idx="11">
                  <c:v>24.663677130044</c:v>
                </c:pt>
                <c:pt idx="12">
                  <c:v>24.778761061946</c:v>
                </c:pt>
                <c:pt idx="13">
                  <c:v>18.697318007661998</c:v>
                </c:pt>
                <c:pt idx="14">
                  <c:v>13.267326732673</c:v>
                </c:pt>
                <c:pt idx="15">
                  <c:v>10.783410138248</c:v>
                </c:pt>
                <c:pt idx="16">
                  <c:v>6.95931477516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E-4A2A-887C-F4A54C3D8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0"/>
                  <c:y val="-0.10333459327075069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62E-4708-B3D9-CEE9753FE499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9.509483776835001</c:v>
                </c:pt>
                <c:pt idx="1">
                  <c:v>19.627720504009002</c:v>
                </c:pt>
                <c:pt idx="2">
                  <c:v>20.687503000624002</c:v>
                </c:pt>
                <c:pt idx="3">
                  <c:v>21.926675369885999</c:v>
                </c:pt>
                <c:pt idx="4">
                  <c:v>28.262146513384</c:v>
                </c:pt>
                <c:pt idx="5">
                  <c:v>30.589283725074999</c:v>
                </c:pt>
                <c:pt idx="6">
                  <c:v>28.003161222338999</c:v>
                </c:pt>
                <c:pt idx="7">
                  <c:v>26.791639017916001</c:v>
                </c:pt>
                <c:pt idx="8">
                  <c:v>24.472393945853</c:v>
                </c:pt>
                <c:pt idx="9">
                  <c:v>18.299783729828</c:v>
                </c:pt>
                <c:pt idx="10">
                  <c:v>12.190790308258</c:v>
                </c:pt>
                <c:pt idx="11">
                  <c:v>8.8303722504230002</c:v>
                </c:pt>
                <c:pt idx="12">
                  <c:v>9.0515491814360001</c:v>
                </c:pt>
                <c:pt idx="13">
                  <c:v>6.3703088214920003</c:v>
                </c:pt>
                <c:pt idx="14">
                  <c:v>2.780608531081</c:v>
                </c:pt>
                <c:pt idx="15">
                  <c:v>2.5820486143950001</c:v>
                </c:pt>
                <c:pt idx="16">
                  <c:v>1.490939044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2E-4708-B3D9-CEE9753FE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1.1728201244851596E-2"/>
                  <c:y val="-9.3940539337046075E-2"/>
                </c:manualLayout>
              </c:layout>
              <c:numFmt formatCode="###0\,00%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29-438D-8691-E33F037B41E3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27.190550801493998</c:v>
                </c:pt>
                <c:pt idx="1">
                  <c:v>29.446764091858</c:v>
                </c:pt>
                <c:pt idx="2">
                  <c:v>31.339611436327999</c:v>
                </c:pt>
                <c:pt idx="3">
                  <c:v>29.211566788123001</c:v>
                </c:pt>
                <c:pt idx="4">
                  <c:v>29.733231707317</c:v>
                </c:pt>
                <c:pt idx="5">
                  <c:v>27.501170594662</c:v>
                </c:pt>
                <c:pt idx="6">
                  <c:v>24.026845637583001</c:v>
                </c:pt>
                <c:pt idx="7">
                  <c:v>22.479594087799999</c:v>
                </c:pt>
                <c:pt idx="8">
                  <c:v>18.74609716498</c:v>
                </c:pt>
                <c:pt idx="9">
                  <c:v>16.549824737104998</c:v>
                </c:pt>
                <c:pt idx="10">
                  <c:v>12.263903462748999</c:v>
                </c:pt>
                <c:pt idx="11">
                  <c:v>9.5617529880469991</c:v>
                </c:pt>
                <c:pt idx="12">
                  <c:v>7.0562635996259999</c:v>
                </c:pt>
                <c:pt idx="13">
                  <c:v>3.950572742851</c:v>
                </c:pt>
                <c:pt idx="14">
                  <c:v>1.955475330926</c:v>
                </c:pt>
                <c:pt idx="15">
                  <c:v>1.6710581056710001</c:v>
                </c:pt>
                <c:pt idx="16">
                  <c:v>1.382828757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29-438D-8691-E33F037B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5.624165058631</c:v>
                </c:pt>
                <c:pt idx="1">
                  <c:v>33.865300766201997</c:v>
                </c:pt>
                <c:pt idx="2">
                  <c:v>30.494002846106</c:v>
                </c:pt>
                <c:pt idx="3">
                  <c:v>23.014959723819999</c:v>
                </c:pt>
                <c:pt idx="4">
                  <c:v>19.580488043664001</c:v>
                </c:pt>
                <c:pt idx="5">
                  <c:v>18.037518037518002</c:v>
                </c:pt>
                <c:pt idx="6">
                  <c:v>17.985072389915999</c:v>
                </c:pt>
                <c:pt idx="7">
                  <c:v>16.663333999866001</c:v>
                </c:pt>
                <c:pt idx="8">
                  <c:v>16.570826179084001</c:v>
                </c:pt>
                <c:pt idx="9">
                  <c:v>12.194130558491</c:v>
                </c:pt>
                <c:pt idx="10">
                  <c:v>10.031222179032</c:v>
                </c:pt>
                <c:pt idx="11">
                  <c:v>7.4693755602029999</c:v>
                </c:pt>
                <c:pt idx="12">
                  <c:v>7.166917508779</c:v>
                </c:pt>
                <c:pt idx="13">
                  <c:v>6.1037018951990003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Středočeský kraj</c:v>
                </c:pt>
                <c:pt idx="2">
                  <c:v>Moravskoslezský kraj</c:v>
                </c:pt>
                <c:pt idx="3">
                  <c:v>Hlavní město Praha</c:v>
                </c:pt>
                <c:pt idx="4">
                  <c:v>Ústecký kraj</c:v>
                </c:pt>
                <c:pt idx="5">
                  <c:v>Zlínský kraj</c:v>
                </c:pt>
                <c:pt idx="6">
                  <c:v>Liberecký kraj</c:v>
                </c:pt>
                <c:pt idx="7">
                  <c:v>Olomoucký kraj</c:v>
                </c:pt>
                <c:pt idx="8">
                  <c:v>Jihočeský kraj</c:v>
                </c:pt>
                <c:pt idx="9">
                  <c:v>Kraj Vysočina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297</c:v>
                </c:pt>
                <c:pt idx="1">
                  <c:v>295</c:v>
                </c:pt>
                <c:pt idx="2">
                  <c:v>287</c:v>
                </c:pt>
                <c:pt idx="3">
                  <c:v>262</c:v>
                </c:pt>
                <c:pt idx="4">
                  <c:v>236</c:v>
                </c:pt>
                <c:pt idx="5">
                  <c:v>226</c:v>
                </c:pt>
                <c:pt idx="6">
                  <c:v>208</c:v>
                </c:pt>
                <c:pt idx="7">
                  <c:v>192</c:v>
                </c:pt>
                <c:pt idx="8">
                  <c:v>190</c:v>
                </c:pt>
                <c:pt idx="9">
                  <c:v>124</c:v>
                </c:pt>
                <c:pt idx="10">
                  <c:v>109</c:v>
                </c:pt>
                <c:pt idx="11">
                  <c:v>109</c:v>
                </c:pt>
                <c:pt idx="12">
                  <c:v>108</c:v>
                </c:pt>
                <c:pt idx="13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2.024640047498</c:v>
                </c:pt>
                <c:pt idx="1">
                  <c:v>292.08821910849503</c:v>
                </c:pt>
                <c:pt idx="2">
                  <c:v>304.94002846106901</c:v>
                </c:pt>
                <c:pt idx="3">
                  <c:v>193.983231957915</c:v>
                </c:pt>
                <c:pt idx="4">
                  <c:v>369.58171182416697</c:v>
                </c:pt>
                <c:pt idx="5">
                  <c:v>364.357864357864</c:v>
                </c:pt>
                <c:pt idx="6">
                  <c:v>179.850723899163</c:v>
                </c:pt>
                <c:pt idx="7">
                  <c:v>226.62134239818701</c:v>
                </c:pt>
                <c:pt idx="8">
                  <c:v>248.38610730138799</c:v>
                </c:pt>
                <c:pt idx="9">
                  <c:v>222.204156843617</c:v>
                </c:pt>
                <c:pt idx="10">
                  <c:v>295.92105428145101</c:v>
                </c:pt>
                <c:pt idx="11">
                  <c:v>268.89752016731398</c:v>
                </c:pt>
                <c:pt idx="12">
                  <c:v>172.00602021070699</c:v>
                </c:pt>
                <c:pt idx="13">
                  <c:v>177.007354960783</c:v>
                </c:pt>
                <c:pt idx="14">
                  <c:v>72.950102130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2BF-8BD6-5FBE1940F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255.30651625352499</c:v>
                </c:pt>
                <c:pt idx="1">
                  <c:v>139.69436566058499</c:v>
                </c:pt>
                <c:pt idx="2">
                  <c:v>159.246459307447</c:v>
                </c:pt>
                <c:pt idx="3">
                  <c:v>69.044879171461005</c:v>
                </c:pt>
                <c:pt idx="4">
                  <c:v>244.75610054580599</c:v>
                </c:pt>
                <c:pt idx="5">
                  <c:v>151.51515151515099</c:v>
                </c:pt>
                <c:pt idx="6">
                  <c:v>152.87311531428901</c:v>
                </c:pt>
                <c:pt idx="7">
                  <c:v>173.29867359861299</c:v>
                </c:pt>
                <c:pt idx="8">
                  <c:v>158.127990240841</c:v>
                </c:pt>
                <c:pt idx="9">
                  <c:v>157.16879386499701</c:v>
                </c:pt>
                <c:pt idx="10">
                  <c:v>125.390277237902</c:v>
                </c:pt>
                <c:pt idx="11">
                  <c:v>224.08126680609499</c:v>
                </c:pt>
                <c:pt idx="12">
                  <c:v>50.168422561455998</c:v>
                </c:pt>
                <c:pt idx="13">
                  <c:v>167.85180211798399</c:v>
                </c:pt>
                <c:pt idx="14">
                  <c:v>124.0151736212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2BF-8BD6-5FBE1940F7D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45.46534065607801</c:v>
                </c:pt>
                <c:pt idx="1">
                  <c:v>42.331625957752998</c:v>
                </c:pt>
                <c:pt idx="2">
                  <c:v>155.85823676899</c:v>
                </c:pt>
                <c:pt idx="3">
                  <c:v>55.893473614991997</c:v>
                </c:pt>
                <c:pt idx="4">
                  <c:v>163.98658736569001</c:v>
                </c:pt>
                <c:pt idx="5">
                  <c:v>72.150072150072006</c:v>
                </c:pt>
                <c:pt idx="6">
                  <c:v>91.424117982073994</c:v>
                </c:pt>
                <c:pt idx="7">
                  <c:v>111.644337799106</c:v>
                </c:pt>
                <c:pt idx="8">
                  <c:v>94.841537067527</c:v>
                </c:pt>
                <c:pt idx="9">
                  <c:v>75.874590141721995</c:v>
                </c:pt>
                <c:pt idx="10">
                  <c:v>82.757582977015005</c:v>
                </c:pt>
                <c:pt idx="11">
                  <c:v>134.44876008365699</c:v>
                </c:pt>
                <c:pt idx="12">
                  <c:v>50.168422561455998</c:v>
                </c:pt>
                <c:pt idx="13">
                  <c:v>82.399975585191996</c:v>
                </c:pt>
                <c:pt idx="14">
                  <c:v>14.590020426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F2-4B90-B8EF-7C911D5510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Liberecký kraj</c:v>
                </c:pt>
                <c:pt idx="2">
                  <c:v>Zlínský kraj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Moravskoslezský kraj</c:v>
                </c:pt>
                <c:pt idx="8">
                  <c:v>ČR</c:v>
                </c:pt>
                <c:pt idx="9">
                  <c:v>Hlavní město Praha</c:v>
                </c:pt>
                <c:pt idx="10">
                  <c:v>Středočeský kraj</c:v>
                </c:pt>
                <c:pt idx="11">
                  <c:v>Kraj Vysočina</c:v>
                </c:pt>
                <c:pt idx="12">
                  <c:v>Královéhradecký kraj</c:v>
                </c:pt>
                <c:pt idx="13">
                  <c:v>Olomou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35.624165058631</c:v>
                </c:pt>
                <c:pt idx="1">
                  <c:v>33.865300766201997</c:v>
                </c:pt>
                <c:pt idx="2">
                  <c:v>30.494002846106</c:v>
                </c:pt>
                <c:pt idx="3">
                  <c:v>23.014959723819999</c:v>
                </c:pt>
                <c:pt idx="4">
                  <c:v>19.580488043664001</c:v>
                </c:pt>
                <c:pt idx="5">
                  <c:v>18.037518037518002</c:v>
                </c:pt>
                <c:pt idx="6">
                  <c:v>17.985072389915999</c:v>
                </c:pt>
                <c:pt idx="7">
                  <c:v>16.663333999866001</c:v>
                </c:pt>
                <c:pt idx="8">
                  <c:v>16.570826179084001</c:v>
                </c:pt>
                <c:pt idx="9">
                  <c:v>12.194130558491</c:v>
                </c:pt>
                <c:pt idx="10">
                  <c:v>10.031222179032</c:v>
                </c:pt>
                <c:pt idx="11">
                  <c:v>7.4693755602029999</c:v>
                </c:pt>
                <c:pt idx="12">
                  <c:v>7.166917508779</c:v>
                </c:pt>
                <c:pt idx="13">
                  <c:v>6.1037018951990003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2BF-8BD6-5FBE1940F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6.486087170646996</c:v>
                </c:pt>
                <c:pt idx="1">
                  <c:v>59.120872624078999</c:v>
                </c:pt>
                <c:pt idx="2">
                  <c:v>54.378664649138997</c:v>
                </c:pt>
                <c:pt idx="3">
                  <c:v>43.741661745728997</c:v>
                </c:pt>
                <c:pt idx="4">
                  <c:v>34.407519301778997</c:v>
                </c:pt>
                <c:pt idx="5">
                  <c:v>33.381551129408997</c:v>
                </c:pt>
                <c:pt idx="6">
                  <c:v>32.657326671238003</c:v>
                </c:pt>
                <c:pt idx="7">
                  <c:v>31.379932533144999</c:v>
                </c:pt>
                <c:pt idx="8">
                  <c:v>30.120179516269001</c:v>
                </c:pt>
                <c:pt idx="9">
                  <c:v>29.464999789535</c:v>
                </c:pt>
                <c:pt idx="10">
                  <c:v>18.123915801464999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5.0205843960229997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27.50554050726402</c:v>
                </c:pt>
                <c:pt idx="1">
                  <c:v>384.28567205651899</c:v>
                </c:pt>
                <c:pt idx="2">
                  <c:v>286.07906184981999</c:v>
                </c:pt>
                <c:pt idx="3">
                  <c:v>310.565798394681</c:v>
                </c:pt>
                <c:pt idx="4">
                  <c:v>349.11043974488001</c:v>
                </c:pt>
                <c:pt idx="5">
                  <c:v>328.68950531541799</c:v>
                </c:pt>
                <c:pt idx="6">
                  <c:v>463.73403873158901</c:v>
                </c:pt>
                <c:pt idx="7">
                  <c:v>288.02295217922398</c:v>
                </c:pt>
                <c:pt idx="8">
                  <c:v>255.01751990441801</c:v>
                </c:pt>
                <c:pt idx="9">
                  <c:v>441.974996843035</c:v>
                </c:pt>
                <c:pt idx="10">
                  <c:v>396.13701680345901</c:v>
                </c:pt>
                <c:pt idx="11">
                  <c:v>318.62802520909901</c:v>
                </c:pt>
                <c:pt idx="12">
                  <c:v>443.92075192502602</c:v>
                </c:pt>
                <c:pt idx="13">
                  <c:v>225.92629782106599</c:v>
                </c:pt>
                <c:pt idx="14">
                  <c:v>96.581031485416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2-4CBF-BBB0-B856CD71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12.73085446934198</c:v>
                </c:pt>
                <c:pt idx="1">
                  <c:v>224.65931597150299</c:v>
                </c:pt>
                <c:pt idx="2">
                  <c:v>235.24683185171099</c:v>
                </c:pt>
                <c:pt idx="3">
                  <c:v>251.514555037945</c:v>
                </c:pt>
                <c:pt idx="4">
                  <c:v>192.178583417254</c:v>
                </c:pt>
                <c:pt idx="5">
                  <c:v>225.79431213375599</c:v>
                </c:pt>
                <c:pt idx="6">
                  <c:v>262.89147970347102</c:v>
                </c:pt>
                <c:pt idx="7">
                  <c:v>209.57312084636101</c:v>
                </c:pt>
                <c:pt idx="8">
                  <c:v>159.63695143622999</c:v>
                </c:pt>
                <c:pt idx="9">
                  <c:v>345.16142610598899</c:v>
                </c:pt>
                <c:pt idx="10">
                  <c:v>346.94353105662401</c:v>
                </c:pt>
                <c:pt idx="11">
                  <c:v>156.971159478012</c:v>
                </c:pt>
                <c:pt idx="12">
                  <c:v>350.75219905187203</c:v>
                </c:pt>
                <c:pt idx="13">
                  <c:v>100.411687920473</c:v>
                </c:pt>
                <c:pt idx="14">
                  <c:v>96.581031485416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12-4CBF-BBB0-B856CD71C7F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216.695395222851</c:v>
                </c:pt>
                <c:pt idx="1">
                  <c:v>94.593396198527003</c:v>
                </c:pt>
                <c:pt idx="2">
                  <c:v>189.14318138831001</c:v>
                </c:pt>
                <c:pt idx="3">
                  <c:v>131.224985237189</c:v>
                </c:pt>
                <c:pt idx="4">
                  <c:v>125.88116817724</c:v>
                </c:pt>
                <c:pt idx="5">
                  <c:v>146.77880534054799</c:v>
                </c:pt>
                <c:pt idx="6">
                  <c:v>189.41249469318399</c:v>
                </c:pt>
                <c:pt idx="7">
                  <c:v>187.15888332268599</c:v>
                </c:pt>
                <c:pt idx="8">
                  <c:v>117.468700113452</c:v>
                </c:pt>
                <c:pt idx="9">
                  <c:v>212.56892705307899</c:v>
                </c:pt>
                <c:pt idx="10">
                  <c:v>150.169588069285</c:v>
                </c:pt>
                <c:pt idx="11">
                  <c:v>74.971300049199002</c:v>
                </c:pt>
                <c:pt idx="12">
                  <c:v>189.07735730140001</c:v>
                </c:pt>
                <c:pt idx="13">
                  <c:v>47.695551762225001</c:v>
                </c:pt>
                <c:pt idx="14">
                  <c:v>24.145257871354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12-4CBF-BBB0-B856CD71C7F9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Liberec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Středočeský kraj</c:v>
                </c:pt>
                <c:pt idx="5">
                  <c:v>ČR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Hlavní město Praha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aj Vysočin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66.486087170646996</c:v>
                </c:pt>
                <c:pt idx="1">
                  <c:v>59.120872624078999</c:v>
                </c:pt>
                <c:pt idx="2">
                  <c:v>54.378664649138997</c:v>
                </c:pt>
                <c:pt idx="3">
                  <c:v>43.741661745728997</c:v>
                </c:pt>
                <c:pt idx="4">
                  <c:v>34.407519301778997</c:v>
                </c:pt>
                <c:pt idx="5">
                  <c:v>33.381551129408997</c:v>
                </c:pt>
                <c:pt idx="6">
                  <c:v>32.657326671238003</c:v>
                </c:pt>
                <c:pt idx="7">
                  <c:v>31.379932533144999</c:v>
                </c:pt>
                <c:pt idx="8">
                  <c:v>30.120179516269001</c:v>
                </c:pt>
                <c:pt idx="9">
                  <c:v>29.464999789535</c:v>
                </c:pt>
                <c:pt idx="10">
                  <c:v>18.123915801464999</c:v>
                </c:pt>
                <c:pt idx="11">
                  <c:v>16.399971885762</c:v>
                </c:pt>
                <c:pt idx="12">
                  <c:v>13.701257775463</c:v>
                </c:pt>
                <c:pt idx="13">
                  <c:v>5.0205843960229997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12-4CBF-BBB0-B856CD71C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5.419847328244003</c:v>
                </c:pt>
                <c:pt idx="1">
                  <c:v>74.541787248969001</c:v>
                </c:pt>
                <c:pt idx="2">
                  <c:v>59.614492945617997</c:v>
                </c:pt>
                <c:pt idx="3">
                  <c:v>58.068797699369</c:v>
                </c:pt>
                <c:pt idx="4">
                  <c:v>45.141513395480999</c:v>
                </c:pt>
                <c:pt idx="5">
                  <c:v>43.944629766494003</c:v>
                </c:pt>
                <c:pt idx="6">
                  <c:v>41.514151581214001</c:v>
                </c:pt>
                <c:pt idx="7">
                  <c:v>40.373179115063003</c:v>
                </c:pt>
                <c:pt idx="8">
                  <c:v>34.885007104628997</c:v>
                </c:pt>
                <c:pt idx="9">
                  <c:v>32.834158945879999</c:v>
                </c:pt>
                <c:pt idx="10">
                  <c:v>32.180030626510998</c:v>
                </c:pt>
                <c:pt idx="11">
                  <c:v>29.688273132111998</c:v>
                </c:pt>
                <c:pt idx="12">
                  <c:v>21.625258301696</c:v>
                </c:pt>
                <c:pt idx="13">
                  <c:v>4.535970244035</c:v>
                </c:pt>
                <c:pt idx="14">
                  <c:v>4.188130837206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B-4171-AE9D-D1549822F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.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537.46689515500805</c:v>
                </c:pt>
                <c:pt idx="1">
                  <c:v>339.82285363500802</c:v>
                </c:pt>
                <c:pt idx="2">
                  <c:v>355.47901349053802</c:v>
                </c:pt>
                <c:pt idx="3">
                  <c:v>522.61917929432502</c:v>
                </c:pt>
                <c:pt idx="4">
                  <c:v>341.18585705887199</c:v>
                </c:pt>
                <c:pt idx="5">
                  <c:v>449.43371352096301</c:v>
                </c:pt>
                <c:pt idx="6">
                  <c:v>411.70177182398902</c:v>
                </c:pt>
                <c:pt idx="7">
                  <c:v>340.44410497026502</c:v>
                </c:pt>
                <c:pt idx="8">
                  <c:v>451.80338469654203</c:v>
                </c:pt>
                <c:pt idx="9">
                  <c:v>612.42844294707902</c:v>
                </c:pt>
                <c:pt idx="10">
                  <c:v>346.21274329212798</c:v>
                </c:pt>
                <c:pt idx="11">
                  <c:v>482.434438396833</c:v>
                </c:pt>
                <c:pt idx="12">
                  <c:v>521.40900571867905</c:v>
                </c:pt>
                <c:pt idx="13">
                  <c:v>265.354259276059</c:v>
                </c:pt>
                <c:pt idx="14">
                  <c:v>113.0795326045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6F-4ABE-BBEB-A66F965F7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3.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68.04798255179901</c:v>
                </c:pt>
                <c:pt idx="1">
                  <c:v>197.316495659037</c:v>
                </c:pt>
                <c:pt idx="2">
                  <c:v>357.68695767371003</c:v>
                </c:pt>
                <c:pt idx="3">
                  <c:v>345.64760535339002</c:v>
                </c:pt>
                <c:pt idx="4">
                  <c:v>293.94473838918202</c:v>
                </c:pt>
                <c:pt idx="5">
                  <c:v>335.57717276231898</c:v>
                </c:pt>
                <c:pt idx="6">
                  <c:v>289.29433059023597</c:v>
                </c:pt>
                <c:pt idx="7">
                  <c:v>200.77472857220701</c:v>
                </c:pt>
                <c:pt idx="8">
                  <c:v>265.46639552791203</c:v>
                </c:pt>
                <c:pt idx="9">
                  <c:v>362.60332053276898</c:v>
                </c:pt>
                <c:pt idx="10">
                  <c:v>250.78230764109199</c:v>
                </c:pt>
                <c:pt idx="11">
                  <c:v>452.74616526471999</c:v>
                </c:pt>
                <c:pt idx="12">
                  <c:v>394.060262386467</c:v>
                </c:pt>
                <c:pt idx="13">
                  <c:v>161.026943663249</c:v>
                </c:pt>
                <c:pt idx="14">
                  <c:v>129.83205595342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6F-4ABE-BBEB-A66F965F7806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1.5</c:v>
                </c:pt>
              </c:strCache>
            </c:strRef>
          </c:tx>
          <c:spPr>
            <a:solidFill>
              <a:srgbClr val="30598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198.62906994859</c:v>
                </c:pt>
                <c:pt idx="1">
                  <c:v>98.658247829518004</c:v>
                </c:pt>
                <c:pt idx="2">
                  <c:v>223.00236250027501</c:v>
                </c:pt>
                <c:pt idx="3">
                  <c:v>116.13759539873899</c:v>
                </c:pt>
                <c:pt idx="4">
                  <c:v>149.071974468799</c:v>
                </c:pt>
                <c:pt idx="5">
                  <c:v>155.80368735393401</c:v>
                </c:pt>
                <c:pt idx="6">
                  <c:v>148.620662660748</c:v>
                </c:pt>
                <c:pt idx="7">
                  <c:v>108.025533307872</c:v>
                </c:pt>
                <c:pt idx="8">
                  <c:v>124.22465944575301</c:v>
                </c:pt>
                <c:pt idx="9">
                  <c:v>209.85310282802001</c:v>
                </c:pt>
                <c:pt idx="10">
                  <c:v>175.32568410306399</c:v>
                </c:pt>
                <c:pt idx="11">
                  <c:v>239.98020781791101</c:v>
                </c:pt>
                <c:pt idx="12">
                  <c:v>153.77961458984001</c:v>
                </c:pt>
                <c:pt idx="13">
                  <c:v>40.823732196316001</c:v>
                </c:pt>
                <c:pt idx="14">
                  <c:v>58.63383172090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6F-4ABE-BBEB-A66F965F7806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Plzeň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Moravskoslezský kraj</c:v>
                </c:pt>
                <c:pt idx="5">
                  <c:v>Olomoucký kraj</c:v>
                </c:pt>
                <c:pt idx="6">
                  <c:v>ČR</c:v>
                </c:pt>
                <c:pt idx="7">
                  <c:v>Hlavní město Praha</c:v>
                </c:pt>
                <c:pt idx="8">
                  <c:v>Středočeský kraj</c:v>
                </c:pt>
                <c:pt idx="9">
                  <c:v>Ústec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Pardubický kraj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95.419847328244003</c:v>
                </c:pt>
                <c:pt idx="1">
                  <c:v>74.541787248969001</c:v>
                </c:pt>
                <c:pt idx="2">
                  <c:v>59.614492945617997</c:v>
                </c:pt>
                <c:pt idx="3">
                  <c:v>58.068797699369</c:v>
                </c:pt>
                <c:pt idx="4">
                  <c:v>45.141513395480999</c:v>
                </c:pt>
                <c:pt idx="5">
                  <c:v>43.944629766494003</c:v>
                </c:pt>
                <c:pt idx="6">
                  <c:v>41.514151581214001</c:v>
                </c:pt>
                <c:pt idx="7">
                  <c:v>40.373179115063003</c:v>
                </c:pt>
                <c:pt idx="8">
                  <c:v>34.885007104628997</c:v>
                </c:pt>
                <c:pt idx="9">
                  <c:v>32.834158945879999</c:v>
                </c:pt>
                <c:pt idx="10">
                  <c:v>32.180030626510998</c:v>
                </c:pt>
                <c:pt idx="11">
                  <c:v>29.688273132111998</c:v>
                </c:pt>
                <c:pt idx="12">
                  <c:v>21.625258301696</c:v>
                </c:pt>
                <c:pt idx="13">
                  <c:v>4.535970244035</c:v>
                </c:pt>
                <c:pt idx="14">
                  <c:v>4.188130837206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6F-4ABE-BBEB-A66F965F7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8312239"/>
        <c:axId val="1994523775"/>
      </c:barChart>
      <c:catAx>
        <c:axId val="1918312239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994523775"/>
        <c:crosses val="autoZero"/>
        <c:auto val="1"/>
        <c:lblAlgn val="ctr"/>
        <c:lblOffset val="100"/>
        <c:noMultiLvlLbl val="0"/>
      </c:catAx>
      <c:valAx>
        <c:axId val="1994523775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183122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Jihomoravs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Ústecký kraj</c:v>
                </c:pt>
                <c:pt idx="7">
                  <c:v>Hlavní město Praha</c:v>
                </c:pt>
                <c:pt idx="8">
                  <c:v>Olomoucký kraj</c:v>
                </c:pt>
                <c:pt idx="9">
                  <c:v>Jih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59</c:v>
                </c:pt>
                <c:pt idx="1">
                  <c:v>55</c:v>
                </c:pt>
                <c:pt idx="2">
                  <c:v>52</c:v>
                </c:pt>
                <c:pt idx="3">
                  <c:v>51</c:v>
                </c:pt>
                <c:pt idx="4">
                  <c:v>49</c:v>
                </c:pt>
                <c:pt idx="5">
                  <c:v>47</c:v>
                </c:pt>
                <c:pt idx="6">
                  <c:v>44</c:v>
                </c:pt>
                <c:pt idx="7">
                  <c:v>41</c:v>
                </c:pt>
                <c:pt idx="8">
                  <c:v>40</c:v>
                </c:pt>
                <c:pt idx="9">
                  <c:v>35</c:v>
                </c:pt>
                <c:pt idx="10">
                  <c:v>22</c:v>
                </c:pt>
                <c:pt idx="11">
                  <c:v>16</c:v>
                </c:pt>
                <c:pt idx="12">
                  <c:v>13</c:v>
                </c:pt>
                <c:pt idx="1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k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Zlínský kraj</c:v>
                </c:pt>
                <c:pt idx="2">
                  <c:v>Ústecký kraj</c:v>
                </c:pt>
                <c:pt idx="3">
                  <c:v>Jihočeský kraj</c:v>
                </c:pt>
                <c:pt idx="4">
                  <c:v>Olomoucký kraj</c:v>
                </c:pt>
                <c:pt idx="5">
                  <c:v>Jihomoravský kraj</c:v>
                </c:pt>
                <c:pt idx="6">
                  <c:v>Moravskoslezský kraj</c:v>
                </c:pt>
                <c:pt idx="7">
                  <c:v>Kraj Vysočina</c:v>
                </c:pt>
                <c:pt idx="8">
                  <c:v>Hlavní město Praha</c:v>
                </c:pt>
                <c:pt idx="9">
                  <c:v>Středoče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6.053134665828296</c:v>
                </c:pt>
                <c:pt idx="1">
                  <c:v>55.582335638606608</c:v>
                </c:pt>
                <c:pt idx="2">
                  <c:v>46.388206388206392</c:v>
                </c:pt>
                <c:pt idx="3">
                  <c:v>43.394252773806315</c:v>
                </c:pt>
                <c:pt idx="4">
                  <c:v>42.156479582650853</c:v>
                </c:pt>
                <c:pt idx="5">
                  <c:v>36.748875261696533</c:v>
                </c:pt>
                <c:pt idx="6">
                  <c:v>36.03820803463686</c:v>
                </c:pt>
                <c:pt idx="7">
                  <c:v>34.399247655164189</c:v>
                </c:pt>
                <c:pt idx="8">
                  <c:v>32.974141728398791</c:v>
                </c:pt>
                <c:pt idx="9">
                  <c:v>30.994297049342922</c:v>
                </c:pt>
                <c:pt idx="10">
                  <c:v>29.838488913222008</c:v>
                </c:pt>
                <c:pt idx="11">
                  <c:v>28.220722295147329</c:v>
                </c:pt>
                <c:pt idx="12">
                  <c:v>27.461350691619202</c:v>
                </c:pt>
                <c:pt idx="13">
                  <c:v>16.225694171835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PozitivnichZamestnanc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Liberecký kraj</c:v>
                </c:pt>
                <c:pt idx="1">
                  <c:v>Kraj Vysočina</c:v>
                </c:pt>
                <c:pt idx="2">
                  <c:v>Zlínský kraj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Jihomoravský kraj</c:v>
                </c:pt>
                <c:pt idx="7">
                  <c:v>Středočeský kraj</c:v>
                </c:pt>
                <c:pt idx="8">
                  <c:v>Moravskoslezský kraj</c:v>
                </c:pt>
                <c:pt idx="9">
                  <c:v>Pardubický kraj</c:v>
                </c:pt>
                <c:pt idx="10">
                  <c:v>Hlavní město Praha</c:v>
                </c:pt>
                <c:pt idx="11">
                  <c:v>Plzeňský kraj</c:v>
                </c:pt>
                <c:pt idx="12">
                  <c:v>Královéhrad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8.937193816187033</c:v>
                </c:pt>
                <c:pt idx="1">
                  <c:v>65.306122448979593</c:v>
                </c:pt>
                <c:pt idx="2">
                  <c:v>53.105593427911863</c:v>
                </c:pt>
                <c:pt idx="3">
                  <c:v>41.843630353369456</c:v>
                </c:pt>
                <c:pt idx="4">
                  <c:v>41.434773191701744</c:v>
                </c:pt>
                <c:pt idx="5">
                  <c:v>34.534816028101474</c:v>
                </c:pt>
                <c:pt idx="6">
                  <c:v>34.467247352155958</c:v>
                </c:pt>
                <c:pt idx="7">
                  <c:v>34.204084370074781</c:v>
                </c:pt>
                <c:pt idx="8">
                  <c:v>32.87291331711603</c:v>
                </c:pt>
                <c:pt idx="9">
                  <c:v>30.149789636695036</c:v>
                </c:pt>
                <c:pt idx="10">
                  <c:v>26.925324909865832</c:v>
                </c:pt>
                <c:pt idx="11">
                  <c:v>22.772883189342291</c:v>
                </c:pt>
                <c:pt idx="12">
                  <c:v>14.008167839401743</c:v>
                </c:pt>
                <c:pt idx="13">
                  <c:v>9.0293453724604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4E-4523-BB6B-1705CAE86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99220866411182E-2"/>
          <c:y val="2.3315360590843423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62.66522347698202</c:v>
                </c:pt>
                <c:pt idx="1">
                  <c:v>320.66311510377898</c:v>
                </c:pt>
                <c:pt idx="2">
                  <c:v>437.54032528179198</c:v>
                </c:pt>
                <c:pt idx="3">
                  <c:v>440.36089143993399</c:v>
                </c:pt>
                <c:pt idx="4">
                  <c:v>400.69667984106098</c:v>
                </c:pt>
                <c:pt idx="5">
                  <c:v>337.410226667747</c:v>
                </c:pt>
                <c:pt idx="6">
                  <c:v>280.646332735138</c:v>
                </c:pt>
                <c:pt idx="7">
                  <c:v>210.30846416646901</c:v>
                </c:pt>
                <c:pt idx="8">
                  <c:v>153.89714100362701</c:v>
                </c:pt>
                <c:pt idx="9">
                  <c:v>140.323166367569</c:v>
                </c:pt>
                <c:pt idx="10">
                  <c:v>108.768082473354</c:v>
                </c:pt>
                <c:pt idx="11">
                  <c:v>94.488966297760001</c:v>
                </c:pt>
                <c:pt idx="12">
                  <c:v>81.091277046585006</c:v>
                </c:pt>
                <c:pt idx="13">
                  <c:v>57.997891626795997</c:v>
                </c:pt>
                <c:pt idx="14">
                  <c:v>42.308492372130999</c:v>
                </c:pt>
                <c:pt idx="15">
                  <c:v>24.503668498859</c:v>
                </c:pt>
                <c:pt idx="16">
                  <c:v>16.57082617908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483.09480735594298</c:v>
                </c:pt>
                <c:pt idx="1">
                  <c:v>613.99549661620995</c:v>
                </c:pt>
                <c:pt idx="2">
                  <c:v>773.90187824360498</c:v>
                </c:pt>
                <c:pt idx="3">
                  <c:v>729.51816794045806</c:v>
                </c:pt>
                <c:pt idx="4">
                  <c:v>588.99058940317002</c:v>
                </c:pt>
                <c:pt idx="5">
                  <c:v>467.21669127566201</c:v>
                </c:pt>
                <c:pt idx="6">
                  <c:v>364.19647355793501</c:v>
                </c:pt>
                <c:pt idx="7">
                  <c:v>273.17861130246803</c:v>
                </c:pt>
                <c:pt idx="8">
                  <c:v>196.53857069449799</c:v>
                </c:pt>
                <c:pt idx="9">
                  <c:v>201.539552137106</c:v>
                </c:pt>
                <c:pt idx="10">
                  <c:v>172.408835233914</c:v>
                </c:pt>
                <c:pt idx="11">
                  <c:v>151.27968863889501</c:v>
                </c:pt>
                <c:pt idx="12">
                  <c:v>119.89853008652899</c:v>
                </c:pt>
                <c:pt idx="13">
                  <c:v>76.890089680098995</c:v>
                </c:pt>
                <c:pt idx="14">
                  <c:v>67.388224939143996</c:v>
                </c:pt>
                <c:pt idx="15">
                  <c:v>46.134053808059001</c:v>
                </c:pt>
                <c:pt idx="16">
                  <c:v>33.381551129408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404.34783640103097</c:v>
                </c:pt>
                <c:pt idx="1">
                  <c:v>510.624064448941</c:v>
                </c:pt>
                <c:pt idx="2">
                  <c:v>679.52735545365397</c:v>
                </c:pt>
                <c:pt idx="3">
                  <c:v>711.90839368700199</c:v>
                </c:pt>
                <c:pt idx="4">
                  <c:v>718.78788166331697</c:v>
                </c:pt>
                <c:pt idx="5">
                  <c:v>615.12111457194101</c:v>
                </c:pt>
                <c:pt idx="6">
                  <c:v>469.58436031436798</c:v>
                </c:pt>
                <c:pt idx="7">
                  <c:v>358.08921035339199</c:v>
                </c:pt>
                <c:pt idx="8">
                  <c:v>262.132214269955</c:v>
                </c:pt>
                <c:pt idx="9">
                  <c:v>236.63066401292301</c:v>
                </c:pt>
                <c:pt idx="10">
                  <c:v>170.68246892962199</c:v>
                </c:pt>
                <c:pt idx="11">
                  <c:v>151.111511755621</c:v>
                </c:pt>
                <c:pt idx="12">
                  <c:v>120.03520400054001</c:v>
                </c:pt>
                <c:pt idx="13">
                  <c:v>79.825782897592006</c:v>
                </c:pt>
                <c:pt idx="14">
                  <c:v>63.931793435069999</c:v>
                </c:pt>
                <c:pt idx="15">
                  <c:v>48.156415834209</c:v>
                </c:pt>
                <c:pt idx="16">
                  <c:v>41.51415158121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396.48157104974098</c:v>
                </c:pt>
                <c:pt idx="1">
                  <c:v>499.27811668765202</c:v>
                </c:pt>
                <c:pt idx="2">
                  <c:v>651.57264688888802</c:v>
                </c:pt>
                <c:pt idx="3">
                  <c:v>648.58647963004103</c:v>
                </c:pt>
                <c:pt idx="4">
                  <c:v>590.17523824863997</c:v>
                </c:pt>
                <c:pt idx="5">
                  <c:v>490.319614911109</c:v>
                </c:pt>
                <c:pt idx="6">
                  <c:v>382.95332846799198</c:v>
                </c:pt>
                <c:pt idx="7">
                  <c:v>289.43199931589601</c:v>
                </c:pt>
                <c:pt idx="8">
                  <c:v>210.61528166570201</c:v>
                </c:pt>
                <c:pt idx="9">
                  <c:v>199.21355213191899</c:v>
                </c:pt>
                <c:pt idx="10">
                  <c:v>155.41643233548501</c:v>
                </c:pt>
                <c:pt idx="11">
                  <c:v>136.63977457151799</c:v>
                </c:pt>
                <c:pt idx="12">
                  <c:v>109.990494034226</c:v>
                </c:pt>
                <c:pt idx="13">
                  <c:v>73.161097841770001</c:v>
                </c:pt>
                <c:pt idx="14">
                  <c:v>59.632855260020001</c:v>
                </c:pt>
                <c:pt idx="15">
                  <c:v>41.353892039194001</c:v>
                </c:pt>
                <c:pt idx="16">
                  <c:v>32.169165470313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92.60043448859</c:v>
                </c:pt>
                <c:pt idx="1">
                  <c:v>593.03235341196103</c:v>
                </c:pt>
                <c:pt idx="2">
                  <c:v>759.23839564214404</c:v>
                </c:pt>
                <c:pt idx="3">
                  <c:v>790.25193666434996</c:v>
                </c:pt>
                <c:pt idx="4">
                  <c:v>746.31530819601198</c:v>
                </c:pt>
                <c:pt idx="5">
                  <c:v>629.28801450450703</c:v>
                </c:pt>
                <c:pt idx="6">
                  <c:v>481.69570343317702</c:v>
                </c:pt>
                <c:pt idx="7">
                  <c:v>360.90267999417199</c:v>
                </c:pt>
                <c:pt idx="8">
                  <c:v>263.87206535886497</c:v>
                </c:pt>
                <c:pt idx="9">
                  <c:v>208.451362797038</c:v>
                </c:pt>
                <c:pt idx="10">
                  <c:v>165.48653555386099</c:v>
                </c:pt>
                <c:pt idx="11">
                  <c:v>138.58446125348999</c:v>
                </c:pt>
                <c:pt idx="12">
                  <c:v>106.48698809552801</c:v>
                </c:pt>
                <c:pt idx="13">
                  <c:v>73.632631291045996</c:v>
                </c:pt>
                <c:pt idx="14">
                  <c:v>49.58989521086</c:v>
                </c:pt>
                <c:pt idx="15">
                  <c:v>31.574195575183001</c:v>
                </c:pt>
                <c:pt idx="16">
                  <c:v>22.65978818284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5.8641006224257983E-2"/>
                  <c:y val="0.1080316202376029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ECA-480F-AC39-EDF76856668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313.25392664568</c:v>
                </c:pt>
                <c:pt idx="1">
                  <c:v>391.77497906500599</c:v>
                </c:pt>
                <c:pt idx="2">
                  <c:v>417.395141183698</c:v>
                </c:pt>
                <c:pt idx="3">
                  <c:v>502.32123413269801</c:v>
                </c:pt>
                <c:pt idx="4">
                  <c:v>446.09921170556697</c:v>
                </c:pt>
                <c:pt idx="5">
                  <c:v>389.995801140097</c:v>
                </c:pt>
                <c:pt idx="6">
                  <c:v>331.75737706473501</c:v>
                </c:pt>
                <c:pt idx="7">
                  <c:v>282.65206633724102</c:v>
                </c:pt>
                <c:pt idx="8">
                  <c:v>244.22182315920301</c:v>
                </c:pt>
                <c:pt idx="9">
                  <c:v>279.80538165738699</c:v>
                </c:pt>
                <c:pt idx="10">
                  <c:v>240.18901986274199</c:v>
                </c:pt>
                <c:pt idx="11">
                  <c:v>266.165017566416</c:v>
                </c:pt>
                <c:pt idx="12">
                  <c:v>280.39844096568999</c:v>
                </c:pt>
                <c:pt idx="13">
                  <c:v>403.63616523106703</c:v>
                </c:pt>
                <c:pt idx="14">
                  <c:v>943.55735951018005</c:v>
                </c:pt>
                <c:pt idx="15">
                  <c:v>1368.89949542514</c:v>
                </c:pt>
                <c:pt idx="16">
                  <c:v>975.58256215854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CA-480F-AC39-EDF768566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D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6"/>
              <c:layout>
                <c:manualLayout>
                  <c:x val="-2.7365802904653725E-2"/>
                  <c:y val="-7.9849458436489218E-2"/>
                </c:manualLayout>
              </c:layout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F37-4491-852B-AB561D3BC9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D$2:$D$18</c:f>
              <c:numCache>
                <c:formatCode>General</c:formatCode>
                <c:ptCount val="17"/>
                <c:pt idx="0">
                  <c:v>1799.47814758646</c:v>
                </c:pt>
                <c:pt idx="1">
                  <c:v>2182.92839969844</c:v>
                </c:pt>
                <c:pt idx="2">
                  <c:v>2604.1360617021001</c:v>
                </c:pt>
                <c:pt idx="3">
                  <c:v>2298.45107102268</c:v>
                </c:pt>
                <c:pt idx="4">
                  <c:v>1489.91739628902</c:v>
                </c:pt>
                <c:pt idx="5">
                  <c:v>1122.34526025732</c:v>
                </c:pt>
                <c:pt idx="6">
                  <c:v>949.186277807019</c:v>
                </c:pt>
                <c:pt idx="7">
                  <c:v>753.64790340104196</c:v>
                </c:pt>
                <c:pt idx="8">
                  <c:v>586.49009868186602</c:v>
                </c:pt>
                <c:pt idx="9">
                  <c:v>751.52248628793404</c:v>
                </c:pt>
                <c:pt idx="10">
                  <c:v>985.56841780199295</c:v>
                </c:pt>
                <c:pt idx="11">
                  <c:v>1182.23201303255</c:v>
                </c:pt>
                <c:pt idx="12">
                  <c:v>924.05634605791295</c:v>
                </c:pt>
                <c:pt idx="13">
                  <c:v>902.80217492682903</c:v>
                </c:pt>
                <c:pt idx="14">
                  <c:v>1717.58707646375</c:v>
                </c:pt>
                <c:pt idx="15">
                  <c:v>1321.8844198173799</c:v>
                </c:pt>
                <c:pt idx="16">
                  <c:v>1517.7978678315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37-4491-852B-AB561D3BC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94269833917821E-2"/>
          <c:y val="4.1915155129150068E-2"/>
          <c:w val="0.81706720452149362"/>
          <c:h val="0.76753447806737263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44-4D44-AC8D-B055E249C3B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44-4D44-AC8D-B055E249C3B6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344-4D44-AC8D-B055E249C3B6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344-4D44-AC8D-B055E249C3B6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344-4D44-AC8D-B055E249C3B6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344-4D44-AC8D-B055E249C3B6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344-4D44-AC8D-B055E249C3B6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344-4D44-AC8D-B055E249C3B6}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344-4D44-AC8D-B055E249C3B6}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C344-4D44-AC8D-B055E249C3B6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344-4D44-AC8D-B055E249C3B6}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C344-4D44-AC8D-B055E249C3B6}"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C344-4D44-AC8D-B055E249C3B6}"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C344-4D44-AC8D-B055E249C3B6}"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C344-4D44-AC8D-B055E249C3B6}"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C344-4D44-AC8D-B055E249C3B6}"/>
                </c:ext>
              </c:extLst>
            </c:dLbl>
            <c:dLbl>
              <c:idx val="16"/>
              <c:layout>
                <c:manualLayout>
                  <c:x val="-6.2550406639208522E-2"/>
                  <c:y val="-0.122122701138159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37468E-673D-436E-985F-46C9EF4516A4}" type="VALUE">
                      <a:rPr lang="en-US" smtClean="0"/>
                      <a:pPr>
                        <a:defRPr/>
                      </a:pPr>
                      <a:t>[HODNOTA]</a:t>
                    </a:fld>
                    <a:endParaRPr lang="cs-CZ"/>
                  </a:p>
                </c:rich>
              </c:tx>
              <c:numFmt formatCode="#,##0.0" sourceLinked="0"/>
              <c:spPr>
                <a:solidFill>
                  <a:srgbClr val="FBCBD8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1CFE-413A-BD75-2190FD42981C}"/>
                </c:ext>
              </c:extLst>
            </c:dLbl>
            <c:numFmt formatCode="###0\,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8</c:f>
              <c:strCache>
                <c:ptCount val="17"/>
                <c:pt idx="0">
                  <c:v>06.02 - 12.02</c:v>
                </c:pt>
                <c:pt idx="1">
                  <c:v>13.02 - 19.02</c:v>
                </c:pt>
                <c:pt idx="2">
                  <c:v>20.02 - 26.02</c:v>
                </c:pt>
                <c:pt idx="3">
                  <c:v>27.02 - 05.03</c:v>
                </c:pt>
                <c:pt idx="4">
                  <c:v>06.03 - 12.03</c:v>
                </c:pt>
                <c:pt idx="5">
                  <c:v>13.03 - 19.03</c:v>
                </c:pt>
                <c:pt idx="6">
                  <c:v>20.03 - 26.03</c:v>
                </c:pt>
                <c:pt idx="7">
                  <c:v>27.03 - 02.04</c:v>
                </c:pt>
                <c:pt idx="8">
                  <c:v>03.04 - 09.04</c:v>
                </c:pt>
                <c:pt idx="9">
                  <c:v>10.04 - 16.04</c:v>
                </c:pt>
                <c:pt idx="10">
                  <c:v>17.04 - 23.04</c:v>
                </c:pt>
                <c:pt idx="11">
                  <c:v>24.04 - 30.04</c:v>
                </c:pt>
                <c:pt idx="12">
                  <c:v>01.05 - 07.05</c:v>
                </c:pt>
                <c:pt idx="13">
                  <c:v>08.05 - 14.05</c:v>
                </c:pt>
                <c:pt idx="14">
                  <c:v>15.05 - 21.05</c:v>
                </c:pt>
                <c:pt idx="15">
                  <c:v>22.05 - 28.05</c:v>
                </c:pt>
                <c:pt idx="16">
                  <c:v>29.05 - 04.06</c:v>
                </c:pt>
              </c:strCache>
            </c:strRef>
          </c:cat>
          <c:val>
            <c:numRef>
              <c:f>List1!$B$2:$B$18</c:f>
              <c:numCache>
                <c:formatCode>General</c:formatCode>
                <c:ptCount val="17"/>
                <c:pt idx="0">
                  <c:v>267.60121425373097</c:v>
                </c:pt>
                <c:pt idx="1">
                  <c:v>279.94119119560202</c:v>
                </c:pt>
                <c:pt idx="2">
                  <c:v>362.26646593637503</c:v>
                </c:pt>
                <c:pt idx="3">
                  <c:v>405.80895600269298</c:v>
                </c:pt>
                <c:pt idx="4">
                  <c:v>266.19093117466002</c:v>
                </c:pt>
                <c:pt idx="5">
                  <c:v>221.061872644386</c:v>
                </c:pt>
                <c:pt idx="6">
                  <c:v>179.63480719667399</c:v>
                </c:pt>
                <c:pt idx="7">
                  <c:v>136.62117328500699</c:v>
                </c:pt>
                <c:pt idx="8">
                  <c:v>122.34205710941301</c:v>
                </c:pt>
                <c:pt idx="9">
                  <c:v>134.50574866640099</c:v>
                </c:pt>
                <c:pt idx="10">
                  <c:v>110.88350709196099</c:v>
                </c:pt>
                <c:pt idx="11">
                  <c:v>113.880358634987</c:v>
                </c:pt>
                <c:pt idx="12">
                  <c:v>117.22978094778</c:v>
                </c:pt>
                <c:pt idx="13">
                  <c:v>122.870913264064</c:v>
                </c:pt>
                <c:pt idx="14">
                  <c:v>130.45118481407101</c:v>
                </c:pt>
                <c:pt idx="15">
                  <c:v>123.5760548036</c:v>
                </c:pt>
                <c:pt idx="16">
                  <c:v>120.931774030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86-4857-841A-55D66F44B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8571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3075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5089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4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741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284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812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58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447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19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03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3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542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93027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5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4599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027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8071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0638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1459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2061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744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04600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8677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7672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729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4419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0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slideLayout" Target="../slideLayouts/slideLayout9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5" Type="http://schemas.openxmlformats.org/officeDocument/2006/relationships/notesSlide" Target="../notesSlides/notesSlide7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128.xml"/><Relationship Id="rId9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35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141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tags" Target="../tags/tag157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tags" Target="../tags/tag156.xml"/><Relationship Id="rId5" Type="http://schemas.openxmlformats.org/officeDocument/2006/relationships/tags" Target="../tags/tag150.xml"/><Relationship Id="rId10" Type="http://schemas.openxmlformats.org/officeDocument/2006/relationships/tags" Target="../tags/tag155.xml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chart" Target="../charts/char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tags" Target="../tags/tag170.xml"/><Relationship Id="rId18" Type="http://schemas.openxmlformats.org/officeDocument/2006/relationships/tags" Target="../tags/tag175.xml"/><Relationship Id="rId26" Type="http://schemas.openxmlformats.org/officeDocument/2006/relationships/chart" Target="../charts/chart8.xml"/><Relationship Id="rId3" Type="http://schemas.openxmlformats.org/officeDocument/2006/relationships/tags" Target="../tags/tag160.xml"/><Relationship Id="rId21" Type="http://schemas.openxmlformats.org/officeDocument/2006/relationships/tags" Target="../tags/tag178.xml"/><Relationship Id="rId7" Type="http://schemas.openxmlformats.org/officeDocument/2006/relationships/tags" Target="../tags/tag164.xml"/><Relationship Id="rId12" Type="http://schemas.openxmlformats.org/officeDocument/2006/relationships/tags" Target="../tags/tag169.xml"/><Relationship Id="rId17" Type="http://schemas.openxmlformats.org/officeDocument/2006/relationships/tags" Target="../tags/tag174.xml"/><Relationship Id="rId25" Type="http://schemas.openxmlformats.org/officeDocument/2006/relationships/chart" Target="../charts/chart7.xml"/><Relationship Id="rId2" Type="http://schemas.openxmlformats.org/officeDocument/2006/relationships/tags" Target="../tags/tag159.xml"/><Relationship Id="rId16" Type="http://schemas.openxmlformats.org/officeDocument/2006/relationships/tags" Target="../tags/tag173.xml"/><Relationship Id="rId20" Type="http://schemas.openxmlformats.org/officeDocument/2006/relationships/tags" Target="../tags/tag177.xml"/><Relationship Id="rId29" Type="http://schemas.openxmlformats.org/officeDocument/2006/relationships/chart" Target="../charts/chart11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24" Type="http://schemas.openxmlformats.org/officeDocument/2006/relationships/notesSlide" Target="../notesSlides/notesSlide11.xml"/><Relationship Id="rId5" Type="http://schemas.openxmlformats.org/officeDocument/2006/relationships/tags" Target="../tags/tag162.xml"/><Relationship Id="rId15" Type="http://schemas.openxmlformats.org/officeDocument/2006/relationships/tags" Target="../tags/tag172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0.xml"/><Relationship Id="rId10" Type="http://schemas.openxmlformats.org/officeDocument/2006/relationships/tags" Target="../tags/tag167.xml"/><Relationship Id="rId19" Type="http://schemas.openxmlformats.org/officeDocument/2006/relationships/tags" Target="../tags/tag176.xml"/><Relationship Id="rId4" Type="http://schemas.openxmlformats.org/officeDocument/2006/relationships/tags" Target="../tags/tag161.xml"/><Relationship Id="rId9" Type="http://schemas.openxmlformats.org/officeDocument/2006/relationships/tags" Target="../tags/tag166.xml"/><Relationship Id="rId14" Type="http://schemas.openxmlformats.org/officeDocument/2006/relationships/tags" Target="../tags/tag171.xml"/><Relationship Id="rId22" Type="http://schemas.openxmlformats.org/officeDocument/2006/relationships/tags" Target="../tags/tag179.xml"/><Relationship Id="rId27" Type="http://schemas.openxmlformats.org/officeDocument/2006/relationships/chart" Target="../charts/chart9.xml"/><Relationship Id="rId30" Type="http://schemas.openxmlformats.org/officeDocument/2006/relationships/chart" Target="../charts/char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26" Type="http://schemas.openxmlformats.org/officeDocument/2006/relationships/chart" Target="../charts/chart14.xml"/><Relationship Id="rId3" Type="http://schemas.openxmlformats.org/officeDocument/2006/relationships/tags" Target="../tags/tag182.xml"/><Relationship Id="rId21" Type="http://schemas.openxmlformats.org/officeDocument/2006/relationships/tags" Target="../tags/tag200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chart" Target="../charts/chart13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tags" Target="../tags/tag199.xml"/><Relationship Id="rId29" Type="http://schemas.openxmlformats.org/officeDocument/2006/relationships/chart" Target="../charts/chart17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notesSlide" Target="../notesSlides/notesSlide12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slideLayout" Target="../slideLayouts/slideLayout9.xml"/><Relationship Id="rId28" Type="http://schemas.openxmlformats.org/officeDocument/2006/relationships/chart" Target="../charts/chart16.xml"/><Relationship Id="rId10" Type="http://schemas.openxmlformats.org/officeDocument/2006/relationships/tags" Target="../tags/tag189.xml"/><Relationship Id="rId19" Type="http://schemas.openxmlformats.org/officeDocument/2006/relationships/tags" Target="../tags/tag198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tags" Target="../tags/tag201.xml"/><Relationship Id="rId27" Type="http://schemas.openxmlformats.org/officeDocument/2006/relationships/chart" Target="../charts/chart15.xml"/><Relationship Id="rId30" Type="http://schemas.openxmlformats.org/officeDocument/2006/relationships/chart" Target="../charts/chart1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tags" Target="../tags/tag214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tags" Target="../tags/tag213.xml"/><Relationship Id="rId2" Type="http://schemas.openxmlformats.org/officeDocument/2006/relationships/tags" Target="../tags/tag203.xml"/><Relationship Id="rId16" Type="http://schemas.openxmlformats.org/officeDocument/2006/relationships/chart" Target="../charts/chart20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5" Type="http://schemas.openxmlformats.org/officeDocument/2006/relationships/chart" Target="../charts/chart19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tags" Target="../tags/tag227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2" Type="http://schemas.openxmlformats.org/officeDocument/2006/relationships/tags" Target="../tags/tag216.xml"/><Relationship Id="rId16" Type="http://schemas.openxmlformats.org/officeDocument/2006/relationships/chart" Target="../charts/chart22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5" Type="http://schemas.openxmlformats.org/officeDocument/2006/relationships/chart" Target="../charts/chart21.xml"/><Relationship Id="rId10" Type="http://schemas.openxmlformats.org/officeDocument/2006/relationships/tags" Target="../tags/tag224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13" Type="http://schemas.openxmlformats.org/officeDocument/2006/relationships/tags" Target="../tags/tag240.xml"/><Relationship Id="rId18" Type="http://schemas.openxmlformats.org/officeDocument/2006/relationships/chart" Target="../charts/chart23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12" Type="http://schemas.openxmlformats.org/officeDocument/2006/relationships/tags" Target="../tags/tag239.xml"/><Relationship Id="rId17" Type="http://schemas.openxmlformats.org/officeDocument/2006/relationships/slideLayout" Target="../slideLayouts/slideLayout27.xml"/><Relationship Id="rId2" Type="http://schemas.openxmlformats.org/officeDocument/2006/relationships/tags" Target="../tags/tag229.xml"/><Relationship Id="rId16" Type="http://schemas.openxmlformats.org/officeDocument/2006/relationships/tags" Target="../tags/tag243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11" Type="http://schemas.openxmlformats.org/officeDocument/2006/relationships/tags" Target="../tags/tag238.xml"/><Relationship Id="rId5" Type="http://schemas.openxmlformats.org/officeDocument/2006/relationships/tags" Target="../tags/tag232.xml"/><Relationship Id="rId15" Type="http://schemas.openxmlformats.org/officeDocument/2006/relationships/tags" Target="../tags/tag242.xml"/><Relationship Id="rId10" Type="http://schemas.openxmlformats.org/officeDocument/2006/relationships/tags" Target="../tags/tag237.xml"/><Relationship Id="rId19" Type="http://schemas.openxmlformats.org/officeDocument/2006/relationships/chart" Target="../charts/chart24.xml"/><Relationship Id="rId4" Type="http://schemas.openxmlformats.org/officeDocument/2006/relationships/tags" Target="../tags/tag231.xml"/><Relationship Id="rId9" Type="http://schemas.openxmlformats.org/officeDocument/2006/relationships/tags" Target="../tags/tag236.xml"/><Relationship Id="rId14" Type="http://schemas.openxmlformats.org/officeDocument/2006/relationships/tags" Target="../tags/tag24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chart" Target="../charts/chart1.xml"/><Relationship Id="rId5" Type="http://schemas.openxmlformats.org/officeDocument/2006/relationships/tags" Target="../tags/tag10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chart" Target="../charts/chart3.xml"/><Relationship Id="rId4" Type="http://schemas.openxmlformats.org/officeDocument/2006/relationships/tags" Target="../tags/tag18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chart" Target="../charts/chart5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9" Type="http://schemas.openxmlformats.org/officeDocument/2006/relationships/image" Target="../media/image17.png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image" Target="../media/image12.png"/><Relationship Id="rId42" Type="http://schemas.openxmlformats.org/officeDocument/2006/relationships/image" Target="../media/image20.png"/><Relationship Id="rId47" Type="http://schemas.openxmlformats.org/officeDocument/2006/relationships/image" Target="../media/image25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slideLayout" Target="../slideLayouts/slideLayout9.xml"/><Relationship Id="rId38" Type="http://schemas.openxmlformats.org/officeDocument/2006/relationships/image" Target="../media/image16.png"/><Relationship Id="rId46" Type="http://schemas.openxmlformats.org/officeDocument/2006/relationships/image" Target="../media/image24.png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tags" Target="../tags/tag59.xml"/><Relationship Id="rId41" Type="http://schemas.openxmlformats.org/officeDocument/2006/relationships/image" Target="../media/image19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tags" Target="../tags/tag62.xml"/><Relationship Id="rId37" Type="http://schemas.openxmlformats.org/officeDocument/2006/relationships/image" Target="../media/image15.png"/><Relationship Id="rId40" Type="http://schemas.openxmlformats.org/officeDocument/2006/relationships/image" Target="../media/image18.png"/><Relationship Id="rId45" Type="http://schemas.openxmlformats.org/officeDocument/2006/relationships/image" Target="../media/image23.pn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tags" Target="../tags/tag58.xml"/><Relationship Id="rId36" Type="http://schemas.openxmlformats.org/officeDocument/2006/relationships/image" Target="../media/image14.png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tags" Target="../tags/tag61.xml"/><Relationship Id="rId44" Type="http://schemas.openxmlformats.org/officeDocument/2006/relationships/image" Target="../media/image22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tags" Target="../tags/tag60.xml"/><Relationship Id="rId35" Type="http://schemas.openxmlformats.org/officeDocument/2006/relationships/image" Target="../media/image13.png"/><Relationship Id="rId43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9" Type="http://schemas.openxmlformats.org/officeDocument/2006/relationships/image" Target="../media/image31.png"/><Relationship Id="rId3" Type="http://schemas.openxmlformats.org/officeDocument/2006/relationships/tags" Target="../tags/tag65.xml"/><Relationship Id="rId21" Type="http://schemas.openxmlformats.org/officeDocument/2006/relationships/tags" Target="../tags/tag83.xml"/><Relationship Id="rId34" Type="http://schemas.openxmlformats.org/officeDocument/2006/relationships/image" Target="../media/image26.png"/><Relationship Id="rId42" Type="http://schemas.openxmlformats.org/officeDocument/2006/relationships/image" Target="../media/image34.png"/><Relationship Id="rId47" Type="http://schemas.openxmlformats.org/officeDocument/2006/relationships/image" Target="../media/image39.pn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slideLayout" Target="../slideLayouts/slideLayout9.xml"/><Relationship Id="rId38" Type="http://schemas.openxmlformats.org/officeDocument/2006/relationships/image" Target="../media/image30.png"/><Relationship Id="rId46" Type="http://schemas.openxmlformats.org/officeDocument/2006/relationships/image" Target="../media/image38.png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41" Type="http://schemas.openxmlformats.org/officeDocument/2006/relationships/image" Target="../media/image33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tags" Target="../tags/tag94.xml"/><Relationship Id="rId37" Type="http://schemas.openxmlformats.org/officeDocument/2006/relationships/image" Target="../media/image29.png"/><Relationship Id="rId40" Type="http://schemas.openxmlformats.org/officeDocument/2006/relationships/image" Target="../media/image32.png"/><Relationship Id="rId45" Type="http://schemas.openxmlformats.org/officeDocument/2006/relationships/image" Target="../media/image37.png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image" Target="../media/image28.png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tags" Target="../tags/tag93.xml"/><Relationship Id="rId44" Type="http://schemas.openxmlformats.org/officeDocument/2006/relationships/image" Target="../media/image36.png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image" Target="../media/image27.png"/><Relationship Id="rId43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Souhrnné výsledky testů ze škol</a:t>
            </a:r>
          </a:p>
          <a:p>
            <a:r>
              <a:rPr lang="cs-CZ" sz="4000" i="1" dirty="0"/>
              <a:t>- Průběžné </a:t>
            </a:r>
            <a:r>
              <a:rPr lang="cs-CZ" sz="4000" i="1" dirty="0" smtClean="0"/>
              <a:t>analýzy: </a:t>
            </a:r>
            <a:r>
              <a:rPr lang="cs-CZ" sz="4000" i="1" dirty="0"/>
              <a:t>5. 6. 2021- </a:t>
            </a:r>
          </a:p>
        </p:txBody>
      </p:sp>
    </p:spTree>
    <p:extLst>
      <p:ext uri="{BB962C8B-B14F-4D97-AF65-F5344CB8AC3E}">
        <p14:creationId xmlns:p14="http://schemas.microsoft.com/office/powerpoint/2010/main" val="2168229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souhrnné hodnocení </a:t>
            </a: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195493"/>
              </p:ext>
            </p:extLst>
          </p:nvPr>
        </p:nvGraphicFramePr>
        <p:xfrm>
          <a:off x="263825" y="1187288"/>
          <a:ext cx="11657891" cy="5224733"/>
        </p:xfrm>
        <a:graphic>
          <a:graphicData uri="http://schemas.openxmlformats.org/drawingml/2006/table">
            <a:tbl>
              <a:tblPr/>
              <a:tblGrid>
                <a:gridCol w="1434913">
                  <a:extLst>
                    <a:ext uri="{9D8B030D-6E8A-4147-A177-3AD203B41FA5}">
                      <a16:colId xmlns:a16="http://schemas.microsoft.com/office/drawing/2014/main" val="661560722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2506814337"/>
                    </a:ext>
                  </a:extLst>
                </a:gridCol>
                <a:gridCol w="1461247">
                  <a:extLst>
                    <a:ext uri="{9D8B030D-6E8A-4147-A177-3AD203B41FA5}">
                      <a16:colId xmlns:a16="http://schemas.microsoft.com/office/drawing/2014/main" val="215986214"/>
                    </a:ext>
                  </a:extLst>
                </a:gridCol>
                <a:gridCol w="1756853">
                  <a:extLst>
                    <a:ext uri="{9D8B030D-6E8A-4147-A177-3AD203B41FA5}">
                      <a16:colId xmlns:a16="http://schemas.microsoft.com/office/drawing/2014/main" val="571367351"/>
                    </a:ext>
                  </a:extLst>
                </a:gridCol>
                <a:gridCol w="1575630">
                  <a:extLst>
                    <a:ext uri="{9D8B030D-6E8A-4147-A177-3AD203B41FA5}">
                      <a16:colId xmlns:a16="http://schemas.microsoft.com/office/drawing/2014/main" val="361299477"/>
                    </a:ext>
                  </a:extLst>
                </a:gridCol>
                <a:gridCol w="1611037">
                  <a:extLst>
                    <a:ext uri="{9D8B030D-6E8A-4147-A177-3AD203B41FA5}">
                      <a16:colId xmlns:a16="http://schemas.microsoft.com/office/drawing/2014/main" val="604021784"/>
                    </a:ext>
                  </a:extLst>
                </a:gridCol>
                <a:gridCol w="1847659">
                  <a:extLst>
                    <a:ext uri="{9D8B030D-6E8A-4147-A177-3AD203B41FA5}">
                      <a16:colId xmlns:a16="http://schemas.microsoft.com/office/drawing/2014/main" val="3985373225"/>
                    </a:ext>
                  </a:extLst>
                </a:gridCol>
                <a:gridCol w="321046">
                  <a:extLst>
                    <a:ext uri="{9D8B030D-6E8A-4147-A177-3AD203B41FA5}">
                      <a16:colId xmlns:a16="http://schemas.microsoft.com/office/drawing/2014/main" val="2540171068"/>
                    </a:ext>
                  </a:extLst>
                </a:gridCol>
              </a:tblGrid>
              <a:tr h="428495">
                <a:tc rowSpan="2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effectLst/>
                          <a:latin typeface="+mn-lt"/>
                        </a:rPr>
                        <a:t>Hodnocený týden </a:t>
                      </a: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Žáci*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aměstnanci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5382023"/>
                  </a:ext>
                </a:extLst>
              </a:tr>
              <a:tr h="774570">
                <a:tc vMerge="1">
                  <a:txBody>
                    <a:bodyPr/>
                    <a:lstStyle/>
                    <a:p>
                      <a:pPr algn="ctr"/>
                      <a:endParaRPr lang="cs-CZ" dirty="0">
                        <a:effectLst/>
                      </a:endParaRPr>
                    </a:p>
                  </a:txBody>
                  <a:tcPr marL="44450" marR="4445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áchyt v % provedených testů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áchyt na 100tis. testů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 neprůkazných testů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áchyt v % provedených testů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áchyt na 100tis. testů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  <a:p>
                      <a:pPr algn="ctr"/>
                      <a:r>
                        <a:rPr lang="cs-CZ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eprůkazných testů</a:t>
                      </a:r>
                      <a:endParaRPr lang="cs-CZ" sz="16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668919"/>
                  </a:ext>
                </a:extLst>
              </a:tr>
              <a:tr h="5253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ýden 1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4. – 18.4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919800"/>
                  </a:ext>
                </a:extLst>
              </a:tr>
              <a:tr h="5253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ýden 2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4.</a:t>
                      </a:r>
                      <a:r>
                        <a:rPr lang="cs-CZ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– 25.4.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906264"/>
                  </a:ext>
                </a:extLst>
              </a:tr>
              <a:tr h="5253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ýden 3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4. – 2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76232"/>
                  </a:ext>
                </a:extLst>
              </a:tr>
              <a:tr h="5253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ýden 4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. – 9.5.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249894"/>
                  </a:ext>
                </a:extLst>
              </a:tr>
              <a:tr h="5253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ýden 5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5. – 16.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433359"/>
                  </a:ext>
                </a:extLst>
              </a:tr>
              <a:tr h="5253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ýden 6</a:t>
                      </a:r>
                    </a:p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5. – 23.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490130"/>
                  </a:ext>
                </a:extLst>
              </a:tr>
              <a:tr h="5253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ýden 7</a:t>
                      </a:r>
                      <a:b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5.-30.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9519632"/>
                  </a:ext>
                </a:extLst>
              </a:tr>
              <a:tr h="3442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cs-CZ" sz="1600" dirty="0">
                        <a:latin typeface="+mn-lt"/>
                      </a:endParaRPr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247501"/>
                  </a:ext>
                </a:extLst>
              </a:tr>
            </a:tbl>
          </a:graphicData>
        </a:graphic>
      </p:graphicFrame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3825" y="747481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</a:t>
            </a:r>
            <a:endParaRPr lang="cs-CZ" sz="1400" i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E40EDBC-756B-45F8-84B9-3427EA067C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7629" y="6412021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Výsledky všech testů v rámci testování ve školách bez ohledu na věk žáka.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09200" y="664068"/>
            <a:ext cx="6878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Podkladem pro tabulku jsou agregované výsledky testů hlášené přímo ze škol. </a:t>
            </a:r>
          </a:p>
          <a:p>
            <a:pPr algn="r"/>
            <a:r>
              <a:rPr lang="cs-CZ" sz="1400" i="1" dirty="0"/>
              <a:t>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7361467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Výsledky testů ze škol v relaci s celkovými populačními záchyty nemoci u dětí 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013923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14300" y="412883"/>
            <a:ext cx="11820525" cy="632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Všechny pozitivně potvrzené případy jsou šetřeny epidemiology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 na KHS. Tato šetření umožňují odlišit děti pravděpodobně nakažené v souvislosti se školní docházkou. U dětí ve věku 5 – 11 let, které jsou ve škole nejdéle, prokázalo epidemické šetření KHS u 30</a:t>
            </a:r>
            <a:r>
              <a:rPr lang="cs-CZ" sz="2800" b="1" dirty="0">
                <a:cs typeface="Arial" panose="020B0604020202020204" pitchFamily="34" charset="0"/>
              </a:rPr>
              <a:t> % z celkem zachycených nákaz souvislost se školou. Dále tento podíl nákaz souvisejících se školou klesá k 19 % (věková kategorie 12 – 15 let) a k 3 % (věková kategorie 16 – 19 let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latin typeface="Calibri" panose="020F0502020204030204"/>
            </a:endParaRPr>
          </a:p>
          <a:p>
            <a:pPr lvl="0" algn="ctr">
              <a:lnSpc>
                <a:spcPct val="90000"/>
              </a:lnSpc>
              <a:spcBef>
                <a:spcPts val="1000"/>
              </a:spcBef>
              <a:defRPr/>
            </a:pPr>
            <a:r>
              <a:rPr lang="cs-CZ" sz="2800" dirty="0"/>
              <a:t>Diagnostika založená pouze na AG testech přispívá u dětí k cca 2 - 5% celkových pozitivních záchytů. V testovaných věkových kategoriích dětí je očekávatelně zaznamenán významně nižší podíl symptomatických pacientů než v celkové populaci, cca 30%.  </a:t>
            </a:r>
            <a:endParaRPr lang="cs-CZ" sz="2800" dirty="0">
              <a:solidFill>
                <a:srgbClr val="0000FF"/>
              </a:solidFill>
            </a:endParaRPr>
          </a:p>
          <a:p>
            <a:pPr lvl="0" algn="ctr">
              <a:defRPr/>
            </a:pPr>
            <a:endParaRPr lang="cs-CZ" sz="3200" b="1" dirty="0">
              <a:solidFill>
                <a:prstClr val="black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041176" y="328779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41176" y="593836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58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3000" dirty="0"/>
              <a:t>Testy hlášení ze škol – průběžné výsledky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solidFill>
                  <a:srgbClr val="000000"/>
                </a:solidFill>
                <a:latin typeface="Arial" panose="020B0604020202020204"/>
              </a:rPr>
              <a:t>(bez dělení na </a:t>
            </a:r>
            <a:r>
              <a:rPr lang="cs-CZ" sz="1600" i="1" dirty="0">
                <a:latin typeface="Arial" panose="020B0604020202020204"/>
              </a:rPr>
              <a:t>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6" name="TextovéPole 5"/>
          <p:cNvSpPr txBox="1"/>
          <p:nvPr>
            <p:custDataLst>
              <p:tags r:id="rId3"/>
            </p:custDataLst>
          </p:nvPr>
        </p:nvSpPr>
        <p:spPr>
          <a:xfrm>
            <a:off x="4455775" y="3156370"/>
            <a:ext cx="2221250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7 171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2 674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</a:t>
            </a:r>
          </a:p>
        </p:txBody>
      </p:sp>
      <p:sp>
        <p:nvSpPr>
          <p:cNvPr id="8" name="Šipka doprava 7"/>
          <p:cNvSpPr/>
          <p:nvPr/>
        </p:nvSpPr>
        <p:spPr>
          <a:xfrm>
            <a:off x="7150615" y="3324401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>
            <p:custDataLst>
              <p:tags r:id="rId4"/>
            </p:custDataLst>
          </p:nvPr>
        </p:nvSpPr>
        <p:spPr>
          <a:xfrm>
            <a:off x="8286750" y="3158610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Cca </a:t>
            </a:r>
            <a:r>
              <a:rPr lang="cs-CZ" sz="2200" b="1" dirty="0">
                <a:latin typeface="Arial" panose="020B0604020202020204"/>
              </a:rPr>
              <a:t>37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záchytů na 100tis. testů</a:t>
            </a:r>
          </a:p>
        </p:txBody>
      </p:sp>
      <p:sp>
        <p:nvSpPr>
          <p:cNvPr id="10" name="TextovéPole 9"/>
          <p:cNvSpPr txBox="1"/>
          <p:nvPr>
            <p:custDataLst>
              <p:tags r:id="rId5"/>
            </p:custDataLst>
          </p:nvPr>
        </p:nvSpPr>
        <p:spPr>
          <a:xfrm>
            <a:off x="456172" y="3275726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Ž</a:t>
            </a:r>
            <a:r>
              <a:rPr kumimoji="0" lang="cs-CZ" sz="3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ci</a:t>
            </a:r>
            <a:r>
              <a:rPr kumimoji="0" lang="cs-CZ" sz="3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kem* 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10"/>
          <p:cNvSpPr txBox="1"/>
          <p:nvPr>
            <p:custDataLst>
              <p:tags r:id="rId6"/>
            </p:custDataLst>
          </p:nvPr>
        </p:nvSpPr>
        <p:spPr>
          <a:xfrm>
            <a:off x="4417674" y="1170788"/>
            <a:ext cx="2160227" cy="76944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46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s. testů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srgbClr val="FFFFFF"/>
                </a:solidFill>
                <a:latin typeface="Arial" panose="020B0604020202020204"/>
              </a:rPr>
              <a:t>528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</a:t>
            </a:r>
          </a:p>
        </p:txBody>
      </p:sp>
      <p:sp>
        <p:nvSpPr>
          <p:cNvPr id="12" name="Šipka doprava 11"/>
          <p:cNvSpPr/>
          <p:nvPr/>
        </p:nvSpPr>
        <p:spPr>
          <a:xfrm>
            <a:off x="7172504" y="1407712"/>
            <a:ext cx="733246" cy="3881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7"/>
            </p:custDataLst>
          </p:nvPr>
        </p:nvSpPr>
        <p:spPr>
          <a:xfrm>
            <a:off x="8286749" y="1226505"/>
            <a:ext cx="2475781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ca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áchytů na 100tis. testů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456172" y="1367895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městnanci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0" y="648748"/>
            <a:ext cx="2749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9"/>
            </p:custDataLst>
          </p:nvPr>
        </p:nvSpPr>
        <p:spPr>
          <a:xfrm>
            <a:off x="292231" y="4849009"/>
            <a:ext cx="3182928" cy="135421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</a:t>
            </a:r>
            <a:br>
              <a:rPr lang="cs-CZ" sz="2000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0 819 </a:t>
            </a:r>
            <a:r>
              <a:rPr lang="cs-CZ" sz="2000" dirty="0">
                <a:solidFill>
                  <a:schemeClr val="bg1"/>
                </a:solidFill>
              </a:rPr>
              <a:t>nákaz u dětí </a:t>
            </a:r>
          </a:p>
          <a:p>
            <a:r>
              <a:rPr lang="cs-CZ" sz="2000" dirty="0">
                <a:solidFill>
                  <a:schemeClr val="bg1"/>
                </a:solidFill>
              </a:rPr>
              <a:t>(5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6" name="TextovéPole 15"/>
          <p:cNvSpPr txBox="1"/>
          <p:nvPr>
            <p:custDataLst>
              <p:tags r:id="rId10"/>
            </p:custDataLst>
          </p:nvPr>
        </p:nvSpPr>
        <p:spPr>
          <a:xfrm>
            <a:off x="8964951" y="4973578"/>
            <a:ext cx="3210419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Testy provedené přímo ve školách potvrdily </a:t>
            </a:r>
          </a:p>
          <a:p>
            <a:r>
              <a:rPr lang="cs-CZ" sz="2200" b="1" dirty="0"/>
              <a:t>2 674 </a:t>
            </a:r>
            <a:r>
              <a:rPr lang="cs-CZ" sz="2200" dirty="0"/>
              <a:t>záchytů nákazy</a:t>
            </a:r>
          </a:p>
        </p:txBody>
      </p:sp>
      <p:sp>
        <p:nvSpPr>
          <p:cNvPr id="17" name="TextovéPole 16"/>
          <p:cNvSpPr txBox="1"/>
          <p:nvPr>
            <p:custDataLst>
              <p:tags r:id="rId11"/>
            </p:custDataLst>
          </p:nvPr>
        </p:nvSpPr>
        <p:spPr>
          <a:xfrm>
            <a:off x="4196094" y="4573164"/>
            <a:ext cx="4330707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200" dirty="0"/>
              <a:t>Epidemická šetření všech záznamů v </a:t>
            </a:r>
            <a:r>
              <a:rPr lang="cs-CZ" sz="2200" b="1" dirty="0"/>
              <a:t>ISIN</a:t>
            </a:r>
            <a:r>
              <a:rPr lang="cs-CZ" sz="2200" dirty="0"/>
              <a:t> prokázala </a:t>
            </a:r>
          </a:p>
          <a:p>
            <a:r>
              <a:rPr lang="cs-CZ" sz="2200" b="1" dirty="0"/>
              <a:t>2 805 </a:t>
            </a:r>
            <a:r>
              <a:rPr lang="cs-CZ" sz="2200" dirty="0"/>
              <a:t>nákaz dětí ve věku 5 – 15 let pravděpodobně souvisejících se školním kolektivem </a:t>
            </a:r>
          </a:p>
        </p:txBody>
      </p:sp>
      <p:cxnSp>
        <p:nvCxnSpPr>
          <p:cNvPr id="4" name="Přímá spojnice 3"/>
          <p:cNvCxnSpPr/>
          <p:nvPr/>
        </p:nvCxnSpPr>
        <p:spPr>
          <a:xfrm flipV="1">
            <a:off x="0" y="2505075"/>
            <a:ext cx="12192000" cy="285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Šipka doprava 4"/>
          <p:cNvSpPr/>
          <p:nvPr/>
        </p:nvSpPr>
        <p:spPr>
          <a:xfrm>
            <a:off x="3746873" y="321187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Šipka doprava 20"/>
          <p:cNvSpPr/>
          <p:nvPr/>
        </p:nvSpPr>
        <p:spPr>
          <a:xfrm>
            <a:off x="3475159" y="1210900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Šipka doprava 21"/>
          <p:cNvSpPr/>
          <p:nvPr/>
        </p:nvSpPr>
        <p:spPr>
          <a:xfrm rot="5400000">
            <a:off x="1581204" y="394704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Šipka doprava 22"/>
          <p:cNvSpPr/>
          <p:nvPr/>
        </p:nvSpPr>
        <p:spPr>
          <a:xfrm>
            <a:off x="3746873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 doprava 24"/>
          <p:cNvSpPr/>
          <p:nvPr/>
        </p:nvSpPr>
        <p:spPr>
          <a:xfrm rot="10800000">
            <a:off x="8583951" y="5171249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/>
        </p:nvSpPr>
        <p:spPr>
          <a:xfrm>
            <a:off x="3746873" y="268960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3649937" y="782752"/>
            <a:ext cx="369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esty ve školách </a:t>
            </a:r>
          </a:p>
        </p:txBody>
      </p:sp>
    </p:spTree>
    <p:extLst>
      <p:ext uri="{BB962C8B-B14F-4D97-AF65-F5344CB8AC3E}">
        <p14:creationId xmlns:p14="http://schemas.microsoft.com/office/powerpoint/2010/main" val="1337063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Populační záchyty nákazy u dětí různých věkových kategorií</a:t>
            </a: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224157" y="6476694"/>
            <a:ext cx="12097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* CELKOVÝ 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SOUHRN V DATECH</a:t>
            </a:r>
            <a:r>
              <a:rPr kumimoji="0" lang="cs-CZ" sz="1600" i="1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  <a:r>
              <a:rPr lang="cs-CZ" sz="1600" i="1" dirty="0">
                <a:latin typeface="Arial" panose="020B0604020202020204"/>
              </a:rPr>
              <a:t>(bez dělení na věkové kategorie žáků, které nejsou v datech testování ve školách k dispozici)</a:t>
            </a:r>
            <a:r>
              <a:rPr kumimoji="0" lang="cs-CZ" sz="1600" i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</a:rPr>
              <a:t> </a:t>
            </a:r>
          </a:p>
        </p:txBody>
      </p:sp>
      <p:sp>
        <p:nvSpPr>
          <p:cNvPr id="10" name="TextovéPole 9"/>
          <p:cNvSpPr txBox="1"/>
          <p:nvPr>
            <p:custDataLst>
              <p:tags r:id="rId3"/>
            </p:custDataLst>
          </p:nvPr>
        </p:nvSpPr>
        <p:spPr>
          <a:xfrm>
            <a:off x="224157" y="1009108"/>
            <a:ext cx="27672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5 – 11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48748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</a:t>
            </a:r>
            <a:endParaRPr lang="cs-CZ" sz="1400" i="1" dirty="0"/>
          </a:p>
        </p:txBody>
      </p:sp>
      <p:sp>
        <p:nvSpPr>
          <p:cNvPr id="15" name="TextovéPole 14"/>
          <p:cNvSpPr txBox="1"/>
          <p:nvPr>
            <p:custDataLst>
              <p:tags r:id="rId5"/>
            </p:custDataLst>
          </p:nvPr>
        </p:nvSpPr>
        <p:spPr>
          <a:xfrm>
            <a:off x="292231" y="1543834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6 753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5 – 11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7" name="TextovéPole 16"/>
          <p:cNvSpPr txBox="1"/>
          <p:nvPr>
            <p:custDataLst>
              <p:tags r:id="rId6"/>
            </p:custDataLst>
          </p:nvPr>
        </p:nvSpPr>
        <p:spPr>
          <a:xfrm>
            <a:off x="5289543" y="1402633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2 017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0 % celku)</a:t>
            </a:r>
          </a:p>
        </p:txBody>
      </p:sp>
      <p:sp>
        <p:nvSpPr>
          <p:cNvPr id="23" name="Šipka doprava 22"/>
          <p:cNvSpPr/>
          <p:nvPr/>
        </p:nvSpPr>
        <p:spPr>
          <a:xfrm>
            <a:off x="4794623" y="1712431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TextovéPole 26"/>
          <p:cNvSpPr txBox="1"/>
          <p:nvPr>
            <p:custDataLst>
              <p:tags r:id="rId7"/>
            </p:custDataLst>
          </p:nvPr>
        </p:nvSpPr>
        <p:spPr>
          <a:xfrm>
            <a:off x="224157" y="2725899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2 – 15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>
            <p:custDataLst>
              <p:tags r:id="rId8"/>
            </p:custDataLst>
          </p:nvPr>
        </p:nvSpPr>
        <p:spPr>
          <a:xfrm>
            <a:off x="292231" y="3308250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chemeClr val="bg1"/>
                </a:solidFill>
                <a:latin typeface="Arial" panose="020B0604020202020204" pitchFamily="34" charset="0"/>
              </a:rPr>
              <a:t>4 066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2 – 15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9" name="TextovéPole 28"/>
          <p:cNvSpPr txBox="1"/>
          <p:nvPr>
            <p:custDataLst>
              <p:tags r:id="rId9"/>
            </p:custDataLst>
          </p:nvPr>
        </p:nvSpPr>
        <p:spPr>
          <a:xfrm>
            <a:off x="5289543" y="3149720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788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19 % celku)</a:t>
            </a:r>
          </a:p>
        </p:txBody>
      </p:sp>
      <p:sp>
        <p:nvSpPr>
          <p:cNvPr id="30" name="Šipka doprava 29"/>
          <p:cNvSpPr/>
          <p:nvPr/>
        </p:nvSpPr>
        <p:spPr>
          <a:xfrm>
            <a:off x="4794623" y="3459518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TextovéPole 30"/>
          <p:cNvSpPr txBox="1"/>
          <p:nvPr>
            <p:custDataLst>
              <p:tags r:id="rId10"/>
            </p:custDataLst>
          </p:nvPr>
        </p:nvSpPr>
        <p:spPr>
          <a:xfrm>
            <a:off x="224157" y="4518452"/>
            <a:ext cx="3271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i="1" dirty="0">
                <a:solidFill>
                  <a:srgbClr val="000000"/>
                </a:solidFill>
                <a:latin typeface="Arial" panose="020B0604020202020204"/>
              </a:rPr>
              <a:t>Děti 16 – 19 let</a:t>
            </a:r>
            <a:endParaRPr kumimoji="0" lang="cs-CZ" sz="3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/>
          <p:cNvSpPr txBox="1"/>
          <p:nvPr>
            <p:custDataLst>
              <p:tags r:id="rId11"/>
            </p:custDataLst>
          </p:nvPr>
        </p:nvSpPr>
        <p:spPr>
          <a:xfrm>
            <a:off x="292231" y="5081753"/>
            <a:ext cx="4312272" cy="104644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chemeClr val="bg1"/>
                </a:solidFill>
              </a:rPr>
              <a:t>Za sledované období bylo v </a:t>
            </a:r>
            <a:r>
              <a:rPr lang="cs-CZ" sz="2000" b="1" dirty="0">
                <a:solidFill>
                  <a:schemeClr val="bg1"/>
                </a:solidFill>
              </a:rPr>
              <a:t>ISIN</a:t>
            </a:r>
            <a:r>
              <a:rPr lang="cs-CZ" sz="2000" dirty="0">
                <a:solidFill>
                  <a:schemeClr val="bg1"/>
                </a:solidFill>
              </a:rPr>
              <a:t> celkem zachyceno </a:t>
            </a:r>
            <a:r>
              <a:rPr lang="cs-CZ" sz="2000" b="1" u="sng" dirty="0">
                <a:solidFill>
                  <a:srgbClr val="FFFFFF"/>
                </a:solidFill>
                <a:latin typeface="Arial" panose="020B0604020202020204" pitchFamily="34" charset="0"/>
              </a:rPr>
              <a:t>3 342 </a:t>
            </a:r>
            <a:r>
              <a:rPr lang="cs-CZ" sz="2000" dirty="0">
                <a:solidFill>
                  <a:schemeClr val="bg1"/>
                </a:solidFill>
              </a:rPr>
              <a:t>nákaz </a:t>
            </a:r>
          </a:p>
          <a:p>
            <a:r>
              <a:rPr lang="cs-CZ" sz="2000" dirty="0">
                <a:solidFill>
                  <a:schemeClr val="bg1"/>
                </a:solidFill>
              </a:rPr>
              <a:t>u dětí (16 – 19 let)</a:t>
            </a:r>
            <a:r>
              <a:rPr lang="cs-CZ" sz="22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3" name="TextovéPole 32"/>
          <p:cNvSpPr txBox="1"/>
          <p:nvPr>
            <p:custDataLst>
              <p:tags r:id="rId12"/>
            </p:custDataLst>
          </p:nvPr>
        </p:nvSpPr>
        <p:spPr>
          <a:xfrm>
            <a:off x="5289543" y="4913698"/>
            <a:ext cx="42164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dirty="0"/>
              <a:t>Epidemická šetření v </a:t>
            </a:r>
            <a:r>
              <a:rPr lang="cs-CZ" sz="2000" b="1" dirty="0"/>
              <a:t>ISIN</a:t>
            </a:r>
            <a:r>
              <a:rPr lang="cs-CZ" sz="2000" dirty="0"/>
              <a:t> prokázala </a:t>
            </a:r>
            <a:r>
              <a:rPr lang="cs-CZ" sz="2000" b="1" dirty="0"/>
              <a:t>108 </a:t>
            </a:r>
            <a:r>
              <a:rPr lang="cs-CZ" sz="2000" dirty="0"/>
              <a:t>nákaz pravděpodobně souvisejících se školním kolektivem </a:t>
            </a:r>
            <a:r>
              <a:rPr lang="cs-CZ" sz="2000" b="1" dirty="0"/>
              <a:t>(3 % celku)</a:t>
            </a:r>
          </a:p>
        </p:txBody>
      </p:sp>
      <p:sp>
        <p:nvSpPr>
          <p:cNvPr id="34" name="Šipka doprava 33"/>
          <p:cNvSpPr/>
          <p:nvPr/>
        </p:nvSpPr>
        <p:spPr>
          <a:xfrm>
            <a:off x="4794623" y="5204446"/>
            <a:ext cx="342900" cy="7392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/>
          <p:cNvSpPr txBox="1"/>
          <p:nvPr>
            <p:custDataLst>
              <p:tags r:id="rId13"/>
            </p:custDataLst>
          </p:nvPr>
        </p:nvSpPr>
        <p:spPr>
          <a:xfrm>
            <a:off x="9505950" y="2357659"/>
            <a:ext cx="2581275" cy="31085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ůběžně hodnocená data</a:t>
            </a:r>
          </a:p>
          <a:p>
            <a:r>
              <a:rPr lang="cs-CZ" sz="1400" dirty="0"/>
              <a:t>o nákazách žáků ukazují </a:t>
            </a:r>
          </a:p>
          <a:p>
            <a:r>
              <a:rPr lang="cs-CZ" sz="1400" dirty="0"/>
              <a:t>na logický gradient v podílu nákaz souvisejících se školou (výsledky epidemických šetření KHS). </a:t>
            </a:r>
          </a:p>
          <a:p>
            <a:r>
              <a:rPr lang="cs-CZ" sz="1400" dirty="0"/>
              <a:t>Věková kategorie, která je nejdéle ve škole (5 – 11 let) vykazuje 30 % z celkem zachycených nákaz (po 12.4.) jako souvisejících se školou, dále tento podíl klesá k 19 % (třída 12 – 15 let) a k 3 % (16 – 19 let). </a:t>
            </a:r>
          </a:p>
        </p:txBody>
      </p:sp>
    </p:spTree>
    <p:extLst>
      <p:ext uri="{BB962C8B-B14F-4D97-AF65-F5344CB8AC3E}">
        <p14:creationId xmlns:p14="http://schemas.microsoft.com/office/powerpoint/2010/main" val="2519779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5 let</a:t>
            </a:r>
            <a:r>
              <a:rPr lang="cs-CZ" dirty="0"/>
              <a:t> mezi 12.4 – 4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680048"/>
              </p:ext>
            </p:extLst>
          </p:nvPr>
        </p:nvGraphicFramePr>
        <p:xfrm>
          <a:off x="700436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 819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0 323 (95.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3 422 (31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6 901 (63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496 (4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280 (2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16 (2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202907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4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28939840"/>
              </p:ext>
            </p:extLst>
          </p:nvPr>
        </p:nvGraphicFramePr>
        <p:xfrm>
          <a:off x="6751384" y="2057360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805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2 743 (97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859 (30.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884 (67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62 (2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31 (1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31 (1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5819" y="1202907"/>
            <a:ext cx="56541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4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586887" y="2358495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918963" y="2870889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918963" y="2870889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>
            <p:custDataLst>
              <p:tags r:id="rId6"/>
            </p:custDataLst>
          </p:nvPr>
        </p:nvCxnSpPr>
        <p:spPr>
          <a:xfrm rot="10800000" flipH="1" flipV="1">
            <a:off x="6918963" y="4512554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918963" y="4512555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586887" y="230449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99865" y="3370887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99865" y="391400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918963" y="4458555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99865" y="501770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99865" y="554786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918963" y="2816889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586887" y="2358495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67375" y="6329899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>
            <p:custDataLst>
              <p:tags r:id="rId8"/>
            </p:custDataLst>
          </p:nvPr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438355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en-US" u="sng" dirty="0"/>
              <a:t>5</a:t>
            </a:r>
            <a:r>
              <a:rPr lang="cs-CZ" u="sng" dirty="0"/>
              <a:t>-1</a:t>
            </a:r>
            <a:r>
              <a:rPr lang="en-US" u="sng" dirty="0"/>
              <a:t>1</a:t>
            </a:r>
            <a:r>
              <a:rPr lang="cs-CZ" u="sng" dirty="0"/>
              <a:t> let</a:t>
            </a:r>
            <a:r>
              <a:rPr lang="cs-CZ" dirty="0"/>
              <a:t> mezi 12.4 – 4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940299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6 753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6 479 (95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 076 (30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4 403 (65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74 (4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50 (2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124 (1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4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CD65A0-5873-4857-BF4E-14496FC5AB8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89320310"/>
              </p:ext>
            </p:extLst>
          </p:nvPr>
        </p:nvGraphicFramePr>
        <p:xfrm>
          <a:off x="6656134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 017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1 979 (98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614 (30.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1 365 (67.7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38 (1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6 (0.8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22 (1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CEBEF2F5-AB47-4FCA-99E0-CF4FC2891E5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00569" y="1155282"/>
            <a:ext cx="56541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</a:t>
            </a:r>
            <a:r>
              <a:rPr lang="en-US" sz="2000" b="1" dirty="0"/>
              <a:t>5</a:t>
            </a:r>
            <a:r>
              <a:rPr lang="cs-CZ" sz="2000" b="1" dirty="0"/>
              <a:t>-</a:t>
            </a:r>
            <a:r>
              <a:rPr lang="en-US" sz="2000" b="1" dirty="0"/>
              <a:t>11</a:t>
            </a:r>
            <a:r>
              <a:rPr lang="cs-CZ" sz="2000" b="1" dirty="0"/>
              <a:t> let</a:t>
            </a:r>
          </a:p>
          <a:p>
            <a:r>
              <a:rPr lang="cs-CZ" sz="2000" b="1" dirty="0"/>
              <a:t>12.4. – 4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ABF932EB-B902-4811-A3F3-6DDDF237D021}"/>
              </a:ext>
            </a:extLst>
          </p:cNvPr>
          <p:cNvCxnSpPr>
            <a:cxnSpLocks/>
            <a:stCxn id="47" idx="2"/>
            <a:endCxn id="50" idx="2"/>
          </p:cNvCxnSpPr>
          <p:nvPr/>
        </p:nvCxnSpPr>
        <p:spPr>
          <a:xfrm rot="10800000" flipH="1" flipV="1">
            <a:off x="6491637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511575C7-FE51-4E5C-BAFA-A111E6EBD5A6}"/>
              </a:ext>
            </a:extLst>
          </p:cNvPr>
          <p:cNvCxnSpPr>
            <a:cxnSpLocks/>
            <a:stCxn id="53" idx="2"/>
            <a:endCxn id="48" idx="2"/>
          </p:cNvCxnSpPr>
          <p:nvPr/>
        </p:nvCxnSpPr>
        <p:spPr>
          <a:xfrm rot="10800000" flipH="1" flipV="1">
            <a:off x="6823713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5FA1F7F8-16D4-4858-BCA8-9A302AF7A522}"/>
              </a:ext>
            </a:extLst>
          </p:cNvPr>
          <p:cNvCxnSpPr>
            <a:cxnSpLocks/>
            <a:stCxn id="53" idx="2"/>
            <a:endCxn id="49" idx="2"/>
          </p:cNvCxnSpPr>
          <p:nvPr/>
        </p:nvCxnSpPr>
        <p:spPr>
          <a:xfrm rot="10800000" flipH="1" flipV="1">
            <a:off x="6823713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FF9D491-E609-4E6C-8E85-9CA6F385FD5A}"/>
              </a:ext>
            </a:extLst>
          </p:cNvPr>
          <p:cNvCxnSpPr>
            <a:cxnSpLocks/>
            <a:stCxn id="50" idx="2"/>
            <a:endCxn id="51" idx="2"/>
          </p:cNvCxnSpPr>
          <p:nvPr/>
        </p:nvCxnSpPr>
        <p:spPr>
          <a:xfrm rot="10800000" flipH="1" flipV="1">
            <a:off x="6823713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D626E197-0824-45A8-B593-A89931ED9C58}"/>
              </a:ext>
            </a:extLst>
          </p:cNvPr>
          <p:cNvCxnSpPr>
            <a:cxnSpLocks/>
            <a:stCxn id="50" idx="2"/>
            <a:endCxn id="52" idx="2"/>
          </p:cNvCxnSpPr>
          <p:nvPr/>
        </p:nvCxnSpPr>
        <p:spPr>
          <a:xfrm rot="10800000" flipH="1" flipV="1">
            <a:off x="6823713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09DFE20-1CAE-4971-A08F-DBD502E8DEEE}"/>
              </a:ext>
            </a:extLst>
          </p:cNvPr>
          <p:cNvSpPr/>
          <p:nvPr/>
        </p:nvSpPr>
        <p:spPr>
          <a:xfrm>
            <a:off x="6491637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A457C35-A674-4C67-9256-A231FDB261A2}"/>
              </a:ext>
            </a:extLst>
          </p:cNvPr>
          <p:cNvSpPr/>
          <p:nvPr/>
        </p:nvSpPr>
        <p:spPr>
          <a:xfrm>
            <a:off x="7304615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F876611-9209-4AAB-B85E-5458C290562F}"/>
              </a:ext>
            </a:extLst>
          </p:cNvPr>
          <p:cNvSpPr/>
          <p:nvPr/>
        </p:nvSpPr>
        <p:spPr>
          <a:xfrm>
            <a:off x="7304615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29B7EAB-5520-410B-91BC-002D2FB8118A}"/>
              </a:ext>
            </a:extLst>
          </p:cNvPr>
          <p:cNvSpPr/>
          <p:nvPr/>
        </p:nvSpPr>
        <p:spPr>
          <a:xfrm>
            <a:off x="6823713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94490D-1E26-4D77-86B6-29DF0CE78D61}"/>
              </a:ext>
            </a:extLst>
          </p:cNvPr>
          <p:cNvSpPr/>
          <p:nvPr/>
        </p:nvSpPr>
        <p:spPr>
          <a:xfrm>
            <a:off x="7304615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43EDF7-BE0D-42CE-87AE-45C6C4EBB8DA}"/>
              </a:ext>
            </a:extLst>
          </p:cNvPr>
          <p:cNvSpPr/>
          <p:nvPr/>
        </p:nvSpPr>
        <p:spPr>
          <a:xfrm>
            <a:off x="7304615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22A0847-F895-4FF7-B901-5DCDFBBF5405}"/>
              </a:ext>
            </a:extLst>
          </p:cNvPr>
          <p:cNvSpPr/>
          <p:nvPr/>
        </p:nvSpPr>
        <p:spPr>
          <a:xfrm>
            <a:off x="6823713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D4B96BC-E68B-450D-A497-DAE9BBF44946}"/>
              </a:ext>
            </a:extLst>
          </p:cNvPr>
          <p:cNvCxnSpPr>
            <a:cxnSpLocks/>
            <a:stCxn id="47" idx="2"/>
            <a:endCxn id="53" idx="2"/>
          </p:cNvCxnSpPr>
          <p:nvPr/>
        </p:nvCxnSpPr>
        <p:spPr>
          <a:xfrm rot="10800000" flipH="1" flipV="1">
            <a:off x="6491637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19196964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9452"/>
            <a:ext cx="12020549" cy="576000"/>
          </a:xfrm>
        </p:spPr>
        <p:txBody>
          <a:bodyPr/>
          <a:lstStyle/>
          <a:p>
            <a:r>
              <a:rPr lang="en-US" dirty="0"/>
              <a:t>V</a:t>
            </a:r>
            <a:r>
              <a:rPr lang="cs-CZ" dirty="0" err="1"/>
              <a:t>ýsledky</a:t>
            </a:r>
            <a:r>
              <a:rPr lang="cs-CZ" dirty="0"/>
              <a:t> testů u dětí </a:t>
            </a:r>
            <a:r>
              <a:rPr lang="cs-CZ" u="sng" dirty="0"/>
              <a:t>12-15 let</a:t>
            </a:r>
            <a:r>
              <a:rPr lang="cs-CZ" dirty="0"/>
              <a:t> mezi 12.4 – 2.6.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B039B79-06AA-4C9C-BA1A-94BB207C83B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895338"/>
              </p:ext>
            </p:extLst>
          </p:nvPr>
        </p:nvGraphicFramePr>
        <p:xfrm>
          <a:off x="700436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 066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3 844 (94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1 346 (33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2 498 (61.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22 (5.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30 (3.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92 (2.3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0B51311-E616-4035-BAC8-793651F8AC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44871" y="1155282"/>
            <a:ext cx="56509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4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všechny záchyty - </a:t>
            </a:r>
            <a:r>
              <a:rPr lang="cs-CZ" sz="2000" b="1" dirty="0" err="1">
                <a:solidFill>
                  <a:srgbClr val="C00000"/>
                </a:solidFill>
              </a:rPr>
              <a:t>ce</a:t>
            </a:r>
            <a:r>
              <a:rPr lang="en-US" sz="2000" b="1" dirty="0">
                <a:solidFill>
                  <a:srgbClr val="C00000"/>
                </a:solidFill>
              </a:rPr>
              <a:t>l</a:t>
            </a:r>
            <a:r>
              <a:rPr lang="cs-CZ" sz="2000" b="1" dirty="0">
                <a:solidFill>
                  <a:srgbClr val="C00000"/>
                </a:solidFill>
              </a:rPr>
              <a:t>á</a:t>
            </a:r>
            <a:r>
              <a:rPr lang="en-US" sz="2000" b="1" dirty="0">
                <a:solidFill>
                  <a:srgbClr val="C00000"/>
                </a:solidFill>
              </a:rPr>
              <a:t> populace</a:t>
            </a:r>
            <a:r>
              <a:rPr lang="cs-CZ" sz="2000" b="1" dirty="0">
                <a:solidFill>
                  <a:srgbClr val="C00000"/>
                </a:solidFill>
              </a:rPr>
              <a:t> 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A08FF42-210A-4A89-A03B-1EC6C64692CE}"/>
              </a:ext>
            </a:extLst>
          </p:cNvPr>
          <p:cNvCxnSpPr>
            <a:cxnSpLocks/>
            <a:stCxn id="14" idx="2"/>
            <a:endCxn id="17" idx="2"/>
          </p:cNvCxnSpPr>
          <p:nvPr/>
        </p:nvCxnSpPr>
        <p:spPr>
          <a:xfrm rot="10800000" flipH="1" flipV="1">
            <a:off x="535939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8C7FF066-57A7-4B99-9FF1-306469C9C859}"/>
              </a:ext>
            </a:extLst>
          </p:cNvPr>
          <p:cNvCxnSpPr>
            <a:cxnSpLocks/>
            <a:stCxn id="21" idx="2"/>
            <a:endCxn id="15" idx="2"/>
          </p:cNvCxnSpPr>
          <p:nvPr/>
        </p:nvCxnSpPr>
        <p:spPr>
          <a:xfrm rot="10800000" flipH="1" flipV="1">
            <a:off x="868015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81084D1-A7BD-43B7-966F-35F4CF8FBBBD}"/>
              </a:ext>
            </a:extLst>
          </p:cNvPr>
          <p:cNvCxnSpPr>
            <a:cxnSpLocks/>
            <a:stCxn id="21" idx="2"/>
            <a:endCxn id="16" idx="2"/>
          </p:cNvCxnSpPr>
          <p:nvPr/>
        </p:nvCxnSpPr>
        <p:spPr>
          <a:xfrm rot="10800000" flipH="1" flipV="1">
            <a:off x="868015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6CA2066-27E7-4D21-B597-D5CAAC07DFD5}"/>
              </a:ext>
            </a:extLst>
          </p:cNvPr>
          <p:cNvCxnSpPr>
            <a:cxnSpLocks/>
            <a:stCxn id="17" idx="2"/>
            <a:endCxn id="18" idx="2"/>
          </p:cNvCxnSpPr>
          <p:nvPr/>
        </p:nvCxnSpPr>
        <p:spPr>
          <a:xfrm rot="10800000" flipH="1" flipV="1">
            <a:off x="868015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60580044-DBFC-45B4-A9EE-89A4E1AA9644}"/>
              </a:ext>
            </a:extLst>
          </p:cNvPr>
          <p:cNvCxnSpPr>
            <a:cxnSpLocks/>
            <a:stCxn id="17" idx="2"/>
            <a:endCxn id="19" idx="2"/>
          </p:cNvCxnSpPr>
          <p:nvPr/>
        </p:nvCxnSpPr>
        <p:spPr>
          <a:xfrm rot="10800000" flipH="1" flipV="1">
            <a:off x="868015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A5328153-B054-4071-A98C-E2F0F016112A}"/>
              </a:ext>
            </a:extLst>
          </p:cNvPr>
          <p:cNvSpPr/>
          <p:nvPr/>
        </p:nvSpPr>
        <p:spPr>
          <a:xfrm>
            <a:off x="535939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4B8638-6E3A-4B4B-BD53-8C9DDA8C8C58}"/>
              </a:ext>
            </a:extLst>
          </p:cNvPr>
          <p:cNvSpPr/>
          <p:nvPr/>
        </p:nvSpPr>
        <p:spPr>
          <a:xfrm>
            <a:off x="1348917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DEE83AC-EC6D-4604-BD16-6F1BA16B9963}"/>
              </a:ext>
            </a:extLst>
          </p:cNvPr>
          <p:cNvSpPr/>
          <p:nvPr/>
        </p:nvSpPr>
        <p:spPr>
          <a:xfrm>
            <a:off x="1348917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8C9862B-01D5-4C9B-A3F9-16393B8A50A3}"/>
              </a:ext>
            </a:extLst>
          </p:cNvPr>
          <p:cNvSpPr/>
          <p:nvPr/>
        </p:nvSpPr>
        <p:spPr>
          <a:xfrm>
            <a:off x="868015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962FAE-F9B1-482C-AFAF-F3E8378687CF}"/>
              </a:ext>
            </a:extLst>
          </p:cNvPr>
          <p:cNvSpPr/>
          <p:nvPr/>
        </p:nvSpPr>
        <p:spPr>
          <a:xfrm>
            <a:off x="1348917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EE98E2B-B223-49EE-9FDD-8C1E8C7B6895}"/>
              </a:ext>
            </a:extLst>
          </p:cNvPr>
          <p:cNvSpPr/>
          <p:nvPr/>
        </p:nvSpPr>
        <p:spPr>
          <a:xfrm>
            <a:off x="1348917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FA11DF4-574C-49DF-ACA7-E8398FFAAFE4}"/>
              </a:ext>
            </a:extLst>
          </p:cNvPr>
          <p:cNvSpPr/>
          <p:nvPr/>
        </p:nvSpPr>
        <p:spPr>
          <a:xfrm>
            <a:off x="868015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11775E1-59DA-4A6F-A295-5D4DFA9B3EB1}"/>
              </a:ext>
            </a:extLst>
          </p:cNvPr>
          <p:cNvCxnSpPr>
            <a:cxnSpLocks/>
            <a:stCxn id="14" idx="2"/>
            <a:endCxn id="21" idx="2"/>
          </p:cNvCxnSpPr>
          <p:nvPr/>
        </p:nvCxnSpPr>
        <p:spPr>
          <a:xfrm rot="10800000" flipH="1" flipV="1">
            <a:off x="535939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8E68DE3-BFFF-4AA9-BAF8-7CE564507B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7375" y="6282274"/>
            <a:ext cx="63531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C00000"/>
                </a:solidFill>
              </a:rPr>
              <a:t>* </a:t>
            </a:r>
            <a:r>
              <a:rPr lang="cs-CZ" sz="1400" dirty="0">
                <a:solidFill>
                  <a:srgbClr val="C00000"/>
                </a:solidFill>
              </a:rPr>
              <a:t>Při epidemickém šetření KHS je potvrzen kolektiv ŠKOLA, v trasování jde o primární případy (děti nejsou uvedeny jako kontakt jiného pozitivního případu)</a:t>
            </a:r>
          </a:p>
        </p:txBody>
      </p:sp>
      <p:graphicFrame>
        <p:nvGraphicFramePr>
          <p:cNvPr id="35" name="Table 39">
            <a:extLst>
              <a:ext uri="{FF2B5EF4-FFF2-40B4-BE49-F238E27FC236}">
                <a16:creationId xmlns:a16="http://schemas.microsoft.com/office/drawing/2014/main" id="{ECF8D81E-48FD-47AC-95EA-897CD0D322D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71209303"/>
              </p:ext>
            </p:extLst>
          </p:nvPr>
        </p:nvGraphicFramePr>
        <p:xfrm>
          <a:off x="6684709" y="2009735"/>
          <a:ext cx="5500086" cy="4351344"/>
        </p:xfrm>
        <a:graphic>
          <a:graphicData uri="http://schemas.openxmlformats.org/drawingml/2006/table">
            <a:tbl>
              <a:tblPr/>
              <a:tblGrid>
                <a:gridCol w="5500086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</a:tblGrid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788 nově pozitivní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64 (97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PCR - symptomatičtí N = 245 (31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519 (65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24 (3.0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AG - symptomatičtí N= 15 (1.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AG - asymptomatičtí konfirmovaní PCR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43918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N = 9 (1.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cxnSp>
        <p:nvCxnSpPr>
          <p:cNvPr id="36" name="Connector: Elbow 41">
            <a:extLst>
              <a:ext uri="{FF2B5EF4-FFF2-40B4-BE49-F238E27FC236}">
                <a16:creationId xmlns:a16="http://schemas.microsoft.com/office/drawing/2014/main" id="{A857519A-CA40-411D-980E-698A4B9412F3}"/>
              </a:ext>
            </a:extLst>
          </p:cNvPr>
          <p:cNvCxnSpPr>
            <a:cxnSpLocks/>
            <a:stCxn id="56" idx="2"/>
            <a:endCxn id="59" idx="2"/>
          </p:cNvCxnSpPr>
          <p:nvPr/>
        </p:nvCxnSpPr>
        <p:spPr>
          <a:xfrm rot="10800000" flipH="1" flipV="1">
            <a:off x="6520212" y="2310870"/>
            <a:ext cx="332076" cy="2154059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42">
            <a:extLst>
              <a:ext uri="{FF2B5EF4-FFF2-40B4-BE49-F238E27FC236}">
                <a16:creationId xmlns:a16="http://schemas.microsoft.com/office/drawing/2014/main" id="{11C712BA-6083-45F2-BAC7-D646EB9DCE80}"/>
              </a:ext>
            </a:extLst>
          </p:cNvPr>
          <p:cNvCxnSpPr>
            <a:cxnSpLocks/>
            <a:stCxn id="62" idx="2"/>
            <a:endCxn id="57" idx="2"/>
          </p:cNvCxnSpPr>
          <p:nvPr/>
        </p:nvCxnSpPr>
        <p:spPr>
          <a:xfrm rot="10800000" flipH="1" flipV="1">
            <a:off x="6852288" y="2823264"/>
            <a:ext cx="480902" cy="553998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43">
            <a:extLst>
              <a:ext uri="{FF2B5EF4-FFF2-40B4-BE49-F238E27FC236}">
                <a16:creationId xmlns:a16="http://schemas.microsoft.com/office/drawing/2014/main" id="{244AF209-2F82-4B3B-8771-D86CB9D0AA7C}"/>
              </a:ext>
            </a:extLst>
          </p:cNvPr>
          <p:cNvCxnSpPr>
            <a:cxnSpLocks/>
            <a:stCxn id="62" idx="2"/>
            <a:endCxn id="58" idx="2"/>
          </p:cNvCxnSpPr>
          <p:nvPr/>
        </p:nvCxnSpPr>
        <p:spPr>
          <a:xfrm rot="10800000" flipH="1" flipV="1">
            <a:off x="6852288" y="2823264"/>
            <a:ext cx="480902" cy="1097114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44">
            <a:extLst>
              <a:ext uri="{FF2B5EF4-FFF2-40B4-BE49-F238E27FC236}">
                <a16:creationId xmlns:a16="http://schemas.microsoft.com/office/drawing/2014/main" id="{69C42B24-0189-4D75-B374-7EFD2DAAED66}"/>
              </a:ext>
            </a:extLst>
          </p:cNvPr>
          <p:cNvCxnSpPr>
            <a:cxnSpLocks/>
            <a:stCxn id="59" idx="2"/>
            <a:endCxn id="60" idx="2"/>
          </p:cNvCxnSpPr>
          <p:nvPr/>
        </p:nvCxnSpPr>
        <p:spPr>
          <a:xfrm rot="10800000" flipH="1" flipV="1">
            <a:off x="6852288" y="4464929"/>
            <a:ext cx="480902" cy="559153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45">
            <a:extLst>
              <a:ext uri="{FF2B5EF4-FFF2-40B4-BE49-F238E27FC236}">
                <a16:creationId xmlns:a16="http://schemas.microsoft.com/office/drawing/2014/main" id="{7A50D906-639B-4F20-895A-E56E8A2F8918}"/>
              </a:ext>
            </a:extLst>
          </p:cNvPr>
          <p:cNvCxnSpPr>
            <a:cxnSpLocks/>
            <a:stCxn id="59" idx="2"/>
            <a:endCxn id="61" idx="2"/>
          </p:cNvCxnSpPr>
          <p:nvPr/>
        </p:nvCxnSpPr>
        <p:spPr>
          <a:xfrm rot="10800000" flipH="1" flipV="1">
            <a:off x="6852288" y="4464930"/>
            <a:ext cx="480902" cy="1089306"/>
          </a:xfrm>
          <a:prstGeom prst="bentConnector3">
            <a:avLst>
              <a:gd name="adj1" fmla="val -475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46">
            <a:extLst>
              <a:ext uri="{FF2B5EF4-FFF2-40B4-BE49-F238E27FC236}">
                <a16:creationId xmlns:a16="http://schemas.microsoft.com/office/drawing/2014/main" id="{2E8EBDA0-CEA2-4C7B-857F-599F39037B81}"/>
              </a:ext>
            </a:extLst>
          </p:cNvPr>
          <p:cNvSpPr/>
          <p:nvPr/>
        </p:nvSpPr>
        <p:spPr>
          <a:xfrm>
            <a:off x="6520212" y="2256871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47">
            <a:extLst>
              <a:ext uri="{FF2B5EF4-FFF2-40B4-BE49-F238E27FC236}">
                <a16:creationId xmlns:a16="http://schemas.microsoft.com/office/drawing/2014/main" id="{E8A199F8-C841-4529-BA30-699B96B16DED}"/>
              </a:ext>
            </a:extLst>
          </p:cNvPr>
          <p:cNvSpPr/>
          <p:nvPr/>
        </p:nvSpPr>
        <p:spPr>
          <a:xfrm>
            <a:off x="7333190" y="3323262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48">
            <a:extLst>
              <a:ext uri="{FF2B5EF4-FFF2-40B4-BE49-F238E27FC236}">
                <a16:creationId xmlns:a16="http://schemas.microsoft.com/office/drawing/2014/main" id="{2BEC8467-23A1-4CFC-BFCE-1383ECB0A7BD}"/>
              </a:ext>
            </a:extLst>
          </p:cNvPr>
          <p:cNvSpPr/>
          <p:nvPr/>
        </p:nvSpPr>
        <p:spPr>
          <a:xfrm>
            <a:off x="7333190" y="3866378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Oval 49">
            <a:extLst>
              <a:ext uri="{FF2B5EF4-FFF2-40B4-BE49-F238E27FC236}">
                <a16:creationId xmlns:a16="http://schemas.microsoft.com/office/drawing/2014/main" id="{6F449461-D626-4F4A-A5B9-452A8D2903AA}"/>
              </a:ext>
            </a:extLst>
          </p:cNvPr>
          <p:cNvSpPr/>
          <p:nvPr/>
        </p:nvSpPr>
        <p:spPr>
          <a:xfrm>
            <a:off x="6852288" y="4410930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Oval 50">
            <a:extLst>
              <a:ext uri="{FF2B5EF4-FFF2-40B4-BE49-F238E27FC236}">
                <a16:creationId xmlns:a16="http://schemas.microsoft.com/office/drawing/2014/main" id="{9728F3B6-94A4-47B6-8C2C-B3F52397DF90}"/>
              </a:ext>
            </a:extLst>
          </p:cNvPr>
          <p:cNvSpPr/>
          <p:nvPr/>
        </p:nvSpPr>
        <p:spPr>
          <a:xfrm>
            <a:off x="7333190" y="4970083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Oval 51">
            <a:extLst>
              <a:ext uri="{FF2B5EF4-FFF2-40B4-BE49-F238E27FC236}">
                <a16:creationId xmlns:a16="http://schemas.microsoft.com/office/drawing/2014/main" id="{CECD612A-9766-4A55-86EA-8C4A1F50DA1C}"/>
              </a:ext>
            </a:extLst>
          </p:cNvPr>
          <p:cNvSpPr/>
          <p:nvPr/>
        </p:nvSpPr>
        <p:spPr>
          <a:xfrm>
            <a:off x="7333190" y="5500236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Oval 52">
            <a:extLst>
              <a:ext uri="{FF2B5EF4-FFF2-40B4-BE49-F238E27FC236}">
                <a16:creationId xmlns:a16="http://schemas.microsoft.com/office/drawing/2014/main" id="{6E05142A-6F83-425E-96C8-385291A504C2}"/>
              </a:ext>
            </a:extLst>
          </p:cNvPr>
          <p:cNvSpPr/>
          <p:nvPr/>
        </p:nvSpPr>
        <p:spPr>
          <a:xfrm>
            <a:off x="6852288" y="2769264"/>
            <a:ext cx="108000" cy="1080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3" name="Connector: Elbow 53">
            <a:extLst>
              <a:ext uri="{FF2B5EF4-FFF2-40B4-BE49-F238E27FC236}">
                <a16:creationId xmlns:a16="http://schemas.microsoft.com/office/drawing/2014/main" id="{58161BC0-4A37-4A9D-9532-DCC329AE9465}"/>
              </a:ext>
            </a:extLst>
          </p:cNvPr>
          <p:cNvCxnSpPr>
            <a:cxnSpLocks/>
            <a:stCxn id="56" idx="2"/>
            <a:endCxn id="62" idx="2"/>
          </p:cNvCxnSpPr>
          <p:nvPr/>
        </p:nvCxnSpPr>
        <p:spPr>
          <a:xfrm rot="10800000" flipH="1" flipV="1">
            <a:off x="6520212" y="2310870"/>
            <a:ext cx="332076" cy="512393"/>
          </a:xfrm>
          <a:prstGeom prst="bentConnector3">
            <a:avLst>
              <a:gd name="adj1" fmla="val -6884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40">
            <a:extLst>
              <a:ext uri="{FF2B5EF4-FFF2-40B4-BE49-F238E27FC236}">
                <a16:creationId xmlns:a16="http://schemas.microsoft.com/office/drawing/2014/main" id="{ED35EB35-A2D4-47EB-B714-BB760F562F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129144" y="1155282"/>
            <a:ext cx="56541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</a:t>
            </a:r>
            <a:r>
              <a:rPr lang="cs-CZ" sz="2000" b="1" dirty="0" err="1"/>
              <a:t>ozitivní</a:t>
            </a:r>
            <a:r>
              <a:rPr lang="cs-CZ" sz="2000" b="1" dirty="0"/>
              <a:t> záchyty u dětí 12-</a:t>
            </a:r>
            <a:r>
              <a:rPr lang="en-US" sz="2000" b="1" dirty="0"/>
              <a:t>1</a:t>
            </a:r>
            <a:r>
              <a:rPr lang="cs-CZ" sz="2000" b="1" dirty="0"/>
              <a:t>5 let</a:t>
            </a:r>
          </a:p>
          <a:p>
            <a:r>
              <a:rPr lang="cs-CZ" sz="2000" b="1" dirty="0"/>
              <a:t>12.4. – 4.6.</a:t>
            </a:r>
            <a:r>
              <a:rPr lang="en-US" sz="2000" b="1" dirty="0"/>
              <a:t>: </a:t>
            </a:r>
            <a:r>
              <a:rPr lang="cs-CZ" sz="2000" b="1" dirty="0">
                <a:solidFill>
                  <a:srgbClr val="C00000"/>
                </a:solidFill>
              </a:rPr>
              <a:t>nákaza pravděpodobně ve škole*</a:t>
            </a:r>
            <a:endParaRPr lang="cs-CZ" sz="2000" b="1" dirty="0">
              <a:solidFill>
                <a:srgbClr val="FF0000"/>
              </a:solidFill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1633099" y="653868"/>
            <a:ext cx="912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i="1" dirty="0"/>
              <a:t>Podkladem pro souhrn jsou konečné výsledky testů hlášené na individuální bázi do centrálního systému ISIN. </a:t>
            </a:r>
          </a:p>
          <a:p>
            <a:pPr algn="ctr"/>
            <a:r>
              <a:rPr lang="cs-CZ" sz="1400" i="1" dirty="0"/>
              <a:t>Jde tedy o konečné počty potvrzených pozitivních diagnóz, včetně konfirmovaných AG testů. </a:t>
            </a:r>
          </a:p>
        </p:txBody>
      </p:sp>
    </p:spTree>
    <p:extLst>
      <p:ext uri="{BB962C8B-B14F-4D97-AF65-F5344CB8AC3E}">
        <p14:creationId xmlns:p14="http://schemas.microsoft.com/office/powerpoint/2010/main" val="38968868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769310"/>
            <a:ext cx="11905307" cy="1802816"/>
          </a:xfrm>
        </p:spPr>
        <p:txBody>
          <a:bodyPr>
            <a:normAutofit/>
          </a:bodyPr>
          <a:lstStyle/>
          <a:p>
            <a:r>
              <a:rPr lang="cs-CZ" sz="4000" b="1" dirty="0"/>
              <a:t>Celkové počty nově potvrzených případů </a:t>
            </a:r>
          </a:p>
          <a:p>
            <a:r>
              <a:rPr lang="cs-CZ" sz="4000" b="1" dirty="0"/>
              <a:t>dětí v populaci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32456629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24209"/>
              </p:ext>
            </p:ext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56BE7CCB-72FB-4FD9-853A-D05AEC7FC5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831583" y="1542954"/>
            <a:ext cx="204105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21.12. do 3.1. vánoční školní prázdniny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81030" y="1581538"/>
            <a:ext cx="21170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. 3. přerušení veškeré prezenční výuk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6D42FF0-6565-403F-B660-2326C9C904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23955" y="1971700"/>
            <a:ext cx="32118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4. 1. pokračuje výuka pouz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i="1" dirty="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v MŠ a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 a 2. třídách ZŠ,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ravných třídách, speciálních </a:t>
            </a:r>
            <a:b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praktických školách</a:t>
            </a:r>
          </a:p>
        </p:txBody>
      </p: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837235" y="1853967"/>
            <a:ext cx="0" cy="8025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/>
        </p:nvSpPr>
        <p:spPr>
          <a:xfrm>
            <a:off x="265215" y="697003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ětí. 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3385A4C-5F20-4192-9027-8DBE2AB6717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386853" y="2523596"/>
            <a:ext cx="245727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 4. otevřeny MŠ pro předškolní děti, návrat 1. stupně</a:t>
            </a:r>
            <a:r>
              <a:rPr kumimoji="0" lang="cs-CZ" sz="12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Š v rotačním režimu</a:t>
            </a: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Přímá spojnice se šipkou 17">
            <a:extLst>
              <a:ext uri="{FF2B5EF4-FFF2-40B4-BE49-F238E27FC236}">
                <a16:creationId xmlns:a16="http://schemas.microsoft.com/office/drawing/2014/main" id="{C84AA3A6-B8AF-4AD3-9609-5B6777C769C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H="1">
            <a:off x="6829074" y="3315626"/>
            <a:ext cx="545" cy="10957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19">
            <a:extLst>
              <a:ext uri="{FF2B5EF4-FFF2-40B4-BE49-F238E27FC236}">
                <a16:creationId xmlns:a16="http://schemas.microsoft.com/office/drawing/2014/main" id="{EC83A386-1D77-43BD-98DD-1074CDE32BD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32892" y="1559490"/>
            <a:ext cx="419520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200" b="1" i="1" dirty="0">
                <a:solidFill>
                  <a:srgbClr val="000000"/>
                </a:solidFill>
              </a:rPr>
              <a:t>26. 4. MŠ otevřeny zcela, SŠ a VOŠ praktické vyučování v PLK, HKK, KVK </a:t>
            </a:r>
            <a:br>
              <a:rPr lang="cs-CZ" sz="1200" b="1" i="1" dirty="0">
                <a:solidFill>
                  <a:srgbClr val="000000"/>
                </a:solidFill>
              </a:rPr>
            </a:br>
            <a:r>
              <a:rPr lang="cs-CZ" sz="1200" b="1" i="1" dirty="0">
                <a:solidFill>
                  <a:srgbClr val="000000"/>
                </a:solidFill>
              </a:rPr>
              <a:t>od 3. 5. dále STC, LBK, PAK, PHA</a:t>
            </a:r>
            <a:r>
              <a:rPr lang="cs-CZ" sz="1200" b="1" i="1" dirty="0">
                <a:solidFill>
                  <a:srgbClr val="000000"/>
                </a:solidFill>
                <a:latin typeface="Arial" panose="020B0604020202020204"/>
              </a:rPr>
              <a:t> s rozšířením rotační výuky 2. st. ZŠ a od 10. 5. ve zbývajících krajích</a:t>
            </a:r>
            <a:endParaRPr lang="cs-CZ" sz="1200" b="1" i="1" dirty="0">
              <a:solidFill>
                <a:srgbClr val="000000"/>
              </a:solidFill>
            </a:endParaRPr>
          </a:p>
        </p:txBody>
      </p: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EA45419-FFE6-41F1-9778-325DBC06FC4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794423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931B54ED-96B8-4B0B-88B2-56F3421552F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299165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16BF9B4A-EA00-4154-9ADA-5E9222B2A3C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787125" y="2523596"/>
            <a:ext cx="0" cy="2171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0055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92454D-DD98-4298-B7F5-F6E7FDB992A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8577"/>
            <a:ext cx="11686436" cy="576000"/>
          </a:xfrm>
        </p:spPr>
        <p:txBody>
          <a:bodyPr/>
          <a:lstStyle/>
          <a:p>
            <a:pPr algn="ctr"/>
            <a:r>
              <a:rPr lang="cs-CZ" sz="2400" dirty="0"/>
              <a:t>Harmonogram otevírání školských zařízení v krajích ČR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B917A4C-0A6E-4A20-B4B4-7BEC1A524DC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23843" y="837488"/>
          <a:ext cx="10263501" cy="5435344"/>
        </p:xfrm>
        <a:graphic>
          <a:graphicData uri="http://schemas.openxmlformats.org/drawingml/2006/table">
            <a:tbl>
              <a:tblPr/>
              <a:tblGrid>
                <a:gridCol w="1557713">
                  <a:extLst>
                    <a:ext uri="{9D8B030D-6E8A-4147-A177-3AD203B41FA5}">
                      <a16:colId xmlns:a16="http://schemas.microsoft.com/office/drawing/2014/main" val="121576139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1935044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652802359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422872413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5015731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711309026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41985561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316123008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45012241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83752418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1265492353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2850195630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082479294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3478618505"/>
                    </a:ext>
                  </a:extLst>
                </a:gridCol>
                <a:gridCol w="621842">
                  <a:extLst>
                    <a:ext uri="{9D8B030D-6E8A-4147-A177-3AD203B41FA5}">
                      <a16:colId xmlns:a16="http://schemas.microsoft.com/office/drawing/2014/main" val="676138909"/>
                    </a:ext>
                  </a:extLst>
                </a:gridCol>
              </a:tblGrid>
              <a:tr h="58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atum změny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K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V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B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HA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M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S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JHC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S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ZLK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291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- předškolní děti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5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bez roušek a testování dětí (pouze zaměstnanci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- 1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rotačně, 2x týdně testy a roušky 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744067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4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3-6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943551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3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Š zcela, ZŠ - 2. stupeň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1-15 let 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č. niž. st.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ym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)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tačně, test 2x týdně (1. st. 1x týdně),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1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514397"/>
                  </a:ext>
                </a:extLst>
              </a:tr>
              <a:tr h="785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MŠ zcela, ZŠ - 2. stupeň (vč. niž.st. gymnázií) rotačně, test 2x týdně (1. st. 1x týdně), SŠ a VOŠ praktické vyučování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tevření škol ve zbývajících krajích 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le režimu z 3. 5. 2021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9456110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CCC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 (</a:t>
                      </a:r>
                      <a:r>
                        <a:rPr lang="pl-PL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6-15 let</a:t>
                      </a:r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zcela a bez rotací (test 1x týdně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rotací 1. stupeň ZŠ (2. st. 2x týdně test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235255"/>
                  </a:ext>
                </a:extLst>
              </a:tr>
              <a:tr h="81231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5.2021</a:t>
                      </a:r>
                    </a:p>
                  </a:txBody>
                  <a:tcPr marL="7007" marR="63063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7E9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tupeň ZŠ bez rotací v celé ČR (test 1x týdně),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oretická výuka bez rotací (test 1x týdně) na S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5-19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, VO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2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a VŠ (</a:t>
                      </a:r>
                      <a:r>
                        <a:rPr lang="cs-CZ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</a:rPr>
                        <a:t>19-25 let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7007" marR="7007" marT="700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919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7421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Graf 16">
            <a:extLst>
              <a:ext uri="{FF2B5EF4-FFF2-40B4-BE49-F238E27FC236}">
                <a16:creationId xmlns:a16="http://schemas.microsoft.com/office/drawing/2014/main" id="{82435891-AD00-4FB1-A73A-2B68645AA38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36830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31" name="Graf 16">
            <a:extLst>
              <a:ext uri="{FF2B5EF4-FFF2-40B4-BE49-F238E27FC236}">
                <a16:creationId xmlns:a16="http://schemas.microsoft.com/office/drawing/2014/main" id="{7266C885-8B68-464B-99FA-0474E08AA1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3371569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testů na 100 tis. dětí v čase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6200000">
            <a:off x="-35890" y="160091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41061819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2884856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26069698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89709421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7A93131A-8E01-44B7-A2A2-A1EFEC4360B8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913856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 934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2487157-9490-45CB-A4BF-887D09526716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992129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86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8AD0D1D-DDE7-45FA-A69D-268EA000744F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7414538" y="2555522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 220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191FCF-0AC0-4145-960F-283F6CCEFCEF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876412" y="2513080"/>
            <a:ext cx="81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8 225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685E3DA0-21F5-4650-971E-957CCD67CF9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876413" y="5606287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4 897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A804B45-F645-487E-B6EF-5C2CC8EDA31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334250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2 140</a:t>
            </a:r>
          </a:p>
        </p:txBody>
      </p:sp>
    </p:spTree>
    <p:extLst>
      <p:ext uri="{BB962C8B-B14F-4D97-AF65-F5344CB8AC3E}">
        <p14:creationId xmlns:p14="http://schemas.microsoft.com/office/powerpoint/2010/main" val="2538002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nově COVID-19 pozitivních na 100 testů u dětí v čas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110567F-ED9A-4B75-8A99-2C76347C8E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952239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6DFE862-337B-42DF-9CE0-613BB419EE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515144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268F6CC-8AED-4B18-94E5-6D17E31A33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096907" y="3850901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4">
            <a:extLst>
              <a:ext uri="{FF2B5EF4-FFF2-40B4-BE49-F238E27FC236}">
                <a16:creationId xmlns:a16="http://schemas.microsoft.com/office/drawing/2014/main" id="{201F6F44-1A1F-4938-A91E-85733E1BBD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885942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ky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8">
            <a:extLst>
              <a:ext uri="{FF2B5EF4-FFF2-40B4-BE49-F238E27FC236}">
                <a16:creationId xmlns:a16="http://schemas.microsoft.com/office/drawing/2014/main" id="{09378E26-1A0F-49EA-84B8-0F2F3113495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48847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bdélník 19">
            <a:extLst>
              <a:ext uri="{FF2B5EF4-FFF2-40B4-BE49-F238E27FC236}">
                <a16:creationId xmlns:a16="http://schemas.microsoft.com/office/drawing/2014/main" id="{357A4323-961E-4F3F-952E-33FADA0EFC4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30610" y="751576"/>
            <a:ext cx="247833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let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6" name="Graf 16">
            <a:extLst>
              <a:ext uri="{FF2B5EF4-FFF2-40B4-BE49-F238E27FC236}">
                <a16:creationId xmlns:a16="http://schemas.microsoft.com/office/drawing/2014/main" id="{5344641D-2322-48FA-B46D-EBF942D0F40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74390015"/>
              </p:ext>
            </p:extLst>
          </p:nvPr>
        </p:nvGraphicFramePr>
        <p:xfrm>
          <a:off x="1515748" y="960159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9" name="Graf 16">
            <a:extLst>
              <a:ext uri="{FF2B5EF4-FFF2-40B4-BE49-F238E27FC236}">
                <a16:creationId xmlns:a16="http://schemas.microsoft.com/office/drawing/2014/main" id="{D14DC449-1F00-4761-9C0F-0F7E7D0DDD4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69963846"/>
              </p:ext>
            </p:extLst>
          </p:nvPr>
        </p:nvGraphicFramePr>
        <p:xfrm>
          <a:off x="4991399" y="99565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2" name="Graf 16">
            <a:extLst>
              <a:ext uri="{FF2B5EF4-FFF2-40B4-BE49-F238E27FC236}">
                <a16:creationId xmlns:a16="http://schemas.microsoft.com/office/drawing/2014/main" id="{0D0112F6-E60E-4310-AF92-E2A52E7E478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86319944"/>
              </p:ext>
            </p:extLst>
          </p:nvPr>
        </p:nvGraphicFramePr>
        <p:xfrm>
          <a:off x="8562717" y="997797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3" name="Graf 16">
            <a:extLst>
              <a:ext uri="{FF2B5EF4-FFF2-40B4-BE49-F238E27FC236}">
                <a16:creationId xmlns:a16="http://schemas.microsoft.com/office/drawing/2014/main" id="{2BC56D18-9139-46D0-B029-751B0EA550A9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548215"/>
              </p:ext>
            </p:extLst>
          </p:nvPr>
        </p:nvGraphicFramePr>
        <p:xfrm>
          <a:off x="1515748" y="3997065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36" name="Graf 16">
            <a:extLst>
              <a:ext uri="{FF2B5EF4-FFF2-40B4-BE49-F238E27FC236}">
                <a16:creationId xmlns:a16="http://schemas.microsoft.com/office/drawing/2014/main" id="{6DEB7949-763A-40DA-B63C-FE897037DA7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86814666"/>
              </p:ext>
            </p:extLst>
          </p:nvPr>
        </p:nvGraphicFramePr>
        <p:xfrm>
          <a:off x="4956188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37" name="Graf 16">
            <a:extLst>
              <a:ext uri="{FF2B5EF4-FFF2-40B4-BE49-F238E27FC236}">
                <a16:creationId xmlns:a16="http://schemas.microsoft.com/office/drawing/2014/main" id="{3AB67F15-6F38-430D-A4EB-52989DEB4CB6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34821894"/>
              </p:ext>
            </p:extLst>
          </p:nvPr>
        </p:nvGraphicFramePr>
        <p:xfrm>
          <a:off x="8562717" y="4097122"/>
          <a:ext cx="3248580" cy="270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6200000">
            <a:off x="-2822385" y="3409335"/>
            <a:ext cx="63129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testů na 100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tis. dět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v dané věkové skupině za dané časové období (suma za celý časový úsek)</a:t>
            </a:r>
          </a:p>
        </p:txBody>
      </p:sp>
      <p:sp>
        <p:nvSpPr>
          <p:cNvPr id="30" name="Obdélník 11">
            <a:extLst>
              <a:ext uri="{FF2B5EF4-FFF2-40B4-BE49-F238E27FC236}">
                <a16:creationId xmlns:a16="http://schemas.microsoft.com/office/drawing/2014/main" id="{F2791115-767B-49CC-9447-EF63B7164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-128361" y="4681509"/>
            <a:ext cx="2610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esty s epidemiologickou indikací </a:t>
            </a:r>
          </a:p>
        </p:txBody>
      </p:sp>
      <p:sp>
        <p:nvSpPr>
          <p:cNvPr id="31" name="Obdélník 11">
            <a:extLst>
              <a:ext uri="{FF2B5EF4-FFF2-40B4-BE49-F238E27FC236}">
                <a16:creationId xmlns:a16="http://schemas.microsoft.com/office/drawing/2014/main" id="{1D89C329-75F4-4B21-9699-DBED3E583FE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-46432" y="1724028"/>
            <a:ext cx="2345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T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y</a:t>
            </a: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 diagnostickou</a:t>
            </a:r>
            <a:r>
              <a:rPr kumimoji="0" lang="cs-CZ" sz="1800" b="1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nebo klinickou indikací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765CE34-BA7B-4D0A-BDD0-7754F6E059C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3561431" y="5512348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 934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95EB96D-4360-4A5F-BBA6-DD6970FBD8AF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501937" y="2513080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86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59BA51D-7547-4F6A-AF8C-73B62C7974C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970670" y="2543611"/>
            <a:ext cx="6988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6 220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50F700-BD9B-4F07-9F57-5ACB46BC8E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255753" y="2543611"/>
            <a:ext cx="8409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8 225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2A38787E-9710-4D2A-A711-372AE644843A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0280688" y="5639306"/>
            <a:ext cx="8160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4 897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A9C1513-F4A3-42A4-BC61-9C1BE01CB4D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688015" y="5608432"/>
            <a:ext cx="7791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N=12 140</a:t>
            </a:r>
          </a:p>
        </p:txBody>
      </p:sp>
    </p:spTree>
    <p:extLst>
      <p:ext uri="{BB962C8B-B14F-4D97-AF65-F5344CB8AC3E}">
        <p14:creationId xmlns:p14="http://schemas.microsoft.com/office/powerpoint/2010/main" val="3114924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6">
            <a:extLst>
              <a:ext uri="{FF2B5EF4-FFF2-40B4-BE49-F238E27FC236}">
                <a16:creationId xmlns:a16="http://schemas.microsoft.com/office/drawing/2014/main" id="{DCB9C751-AE9B-44A7-8FB4-829A6D12679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4362487"/>
            <a:ext cx="8050306" cy="3325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289105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0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4 let</a:t>
            </a:r>
            <a:endParaRPr lang="cs-CZ" sz="2000" dirty="0">
              <a:latin typeface="+mn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E85FA95-C1A5-4C64-9392-6663D81F7BA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1491425"/>
              </p:ext>
            </p:extLst>
          </p:nvPr>
        </p:nvGraphicFramePr>
        <p:xfrm>
          <a:off x="5037332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983370" y="2345701"/>
            <a:ext cx="305230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ající počet nově nakažených dětí </a:t>
            </a: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věku 0 – 4 let je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mi silně patrný mezi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.4. a 1.5., a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ále rovněž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zi 1.5. a 4.6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očty nakažených dětí  dané věkové kategorie klesají ve všech krajích. </a:t>
            </a: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D48701E7-F1B4-4F9C-8212-C3B87420926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1C140140-1983-45CC-A10B-066345AEDC3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6.2021</a:t>
            </a:r>
          </a:p>
        </p:txBody>
      </p:sp>
    </p:spTree>
    <p:extLst>
      <p:ext uri="{BB962C8B-B14F-4D97-AF65-F5344CB8AC3E}">
        <p14:creationId xmlns:p14="http://schemas.microsoft.com/office/powerpoint/2010/main" val="42940253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315" y="3351473"/>
            <a:ext cx="8050306" cy="314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175547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5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1 let</a:t>
            </a:r>
            <a:endParaRPr lang="cs-CZ" sz="2000" dirty="0"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C99AA1-AE13-4028-BD9E-E6A0DCA21FD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6FDF4-9B38-4E3D-886C-CED72EB7981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A39769A-120C-4CE2-8E85-73A08F37D7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647953" y="1643022"/>
            <a:ext cx="327077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ající počet nově nakažených dětí </a:t>
            </a: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věku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je velmi silně patrný mezi 13.4. a 1.5., a dále rovněž mezi 1.5. a 4.6. Počty nakažených dětí  dané věkové kategorie klesají ve všech krajích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Zlínský kraj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6FB5FCE5-711C-4C26-8879-27C613FC76D5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9280223"/>
              </p:ext>
            </p:extLst>
          </p:nvPr>
        </p:nvGraphicFramePr>
        <p:xfrm>
          <a:off x="4849396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917AEC26-943C-4BAF-A0AF-9551675FCB6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F7C36DEF-778B-4375-AA60-A601C49BBA0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09D08931-F140-400B-AEF1-5ED5FBA4931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3BDA947B-5EF2-4284-B5B5-03EB0325FF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54B0F530-38B8-4DA9-A11D-B8541C2A296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6.2021</a:t>
            </a:r>
          </a:p>
        </p:txBody>
      </p:sp>
    </p:spTree>
    <p:extLst>
      <p:ext uri="{BB962C8B-B14F-4D97-AF65-F5344CB8AC3E}">
        <p14:creationId xmlns:p14="http://schemas.microsoft.com/office/powerpoint/2010/main" val="25378419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8F308F-8B97-4E6E-A76A-3F0B3FCE25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9556" y="3684125"/>
            <a:ext cx="8050306" cy="30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8A00E16-03C7-47EB-BFF1-4816E8247AF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642771"/>
              </p:ext>
            </p:extLst>
          </p:nvPr>
        </p:nvGraphicFramePr>
        <p:xfrm>
          <a:off x="71824" y="1253263"/>
          <a:ext cx="4518105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Nadpis 2">
            <a:extLst>
              <a:ext uri="{FF2B5EF4-FFF2-40B4-BE49-F238E27FC236}">
                <a16:creationId xmlns:a16="http://schemas.microsoft.com/office/drawing/2014/main" id="{A7B93101-0EBB-4871-8999-7D1ADFC76D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986" y="1"/>
            <a:ext cx="10983926" cy="681036"/>
          </a:xfrm>
        </p:spPr>
        <p:txBody>
          <a:bodyPr>
            <a:normAutofit/>
          </a:bodyPr>
          <a:lstStyle/>
          <a:p>
            <a:r>
              <a:rPr lang="pl-PL" sz="2000" dirty="0">
                <a:latin typeface="+mn-lt"/>
              </a:rPr>
              <a:t>Nové případy za </a:t>
            </a:r>
            <a:r>
              <a:rPr lang="en-US" sz="2000" dirty="0">
                <a:latin typeface="+mn-lt"/>
              </a:rPr>
              <a:t>7</a:t>
            </a:r>
            <a:r>
              <a:rPr lang="pl-PL" sz="2000" dirty="0">
                <a:latin typeface="+mn-lt"/>
              </a:rPr>
              <a:t> dní na 100 000 obyvatel: srovnání krajů k 4.</a:t>
            </a:r>
            <a:r>
              <a:rPr lang="cs-CZ" sz="2000" dirty="0">
                <a:latin typeface="+mn-lt"/>
              </a:rPr>
              <a:t>6</a:t>
            </a:r>
            <a:r>
              <a:rPr lang="pl-PL" sz="2000" dirty="0">
                <a:latin typeface="+mn-lt"/>
              </a:rPr>
              <a:t>.</a:t>
            </a:r>
            <a:r>
              <a:rPr lang="en-US" sz="2000" dirty="0">
                <a:latin typeface="+mn-lt"/>
              </a:rPr>
              <a:t>: 12</a:t>
            </a:r>
            <a:r>
              <a:rPr lang="cs-CZ" sz="2000" dirty="0">
                <a:latin typeface="+mn-lt"/>
              </a:rPr>
              <a:t>–</a:t>
            </a:r>
            <a:r>
              <a:rPr lang="en-US" sz="2000" dirty="0">
                <a:latin typeface="+mn-lt"/>
              </a:rPr>
              <a:t>19 let</a:t>
            </a:r>
            <a:endParaRPr lang="cs-CZ" sz="20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703C0B-9F55-4E7D-AB33-CC7F35F8E1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493C1B-0E57-4EEE-BDE7-3CD426FEEC7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98A358-90FD-454C-9CE9-E00A52C21BB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4725A0A-299D-4402-8473-3C63C6E5102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29748" y="1727136"/>
            <a:ext cx="342759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sající počet nově nakažených dětí </a:t>
            </a:r>
          </a:p>
          <a:p>
            <a:pPr lvl="0"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věku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20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je velmi silně patrný mezi 13.4. a 1.5., a dále rovněž mezi 1.5. a 4.6. Počty nakažených dětí  dané věkové kategorie klesají ve všech krajích. </a:t>
            </a:r>
          </a:p>
          <a:p>
            <a:pPr lvl="0">
              <a:defRPr/>
            </a:pPr>
            <a:endParaRPr lang="cs-CZ" sz="20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ýšený 7denní počet pozitivních záchytů </a:t>
            </a:r>
            <a:b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0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100tis. dětí v této věkové kategorii registruje především kraj Jihočeský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" name="Chart 5">
            <a:extLst>
              <a:ext uri="{FF2B5EF4-FFF2-40B4-BE49-F238E27FC236}">
                <a16:creationId xmlns:a16="http://schemas.microsoft.com/office/drawing/2014/main" id="{65FD74B0-BFEF-4240-A12D-B991B7F246B1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98284786"/>
              </p:ext>
            </p:extLst>
          </p:nvPr>
        </p:nvGraphicFramePr>
        <p:xfrm>
          <a:off x="4989338" y="1253263"/>
          <a:ext cx="3740410" cy="565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TextBox 16">
            <a:extLst>
              <a:ext uri="{FF2B5EF4-FFF2-40B4-BE49-F238E27FC236}">
                <a16:creationId xmlns:a16="http://schemas.microsoft.com/office/drawing/2014/main" id="{49DD5679-FB51-41D3-B6F9-89ECAD0AA80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605523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2021</a:t>
            </a: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AA2AF1B9-964B-4451-BED5-A91D3BA022D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409901" y="840172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.3.2021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07B47C78-2DF9-4B3E-BB33-B6B7E6F42C8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709437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2021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2FD59DF9-D173-45BA-A7B7-9793ED6E471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426341" y="904061"/>
            <a:ext cx="180000" cy="180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C06A69B2-B455-46C3-AAF9-9E1582D02E8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164965" y="904061"/>
            <a:ext cx="180000" cy="180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28197353-E87D-4843-92C6-B53E5C792A3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530255" y="897533"/>
            <a:ext cx="180000" cy="180000"/>
          </a:xfrm>
          <a:prstGeom prst="rect">
            <a:avLst/>
          </a:prstGeom>
          <a:solidFill>
            <a:srgbClr val="3059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950B1CED-E1EB-4514-A55F-35A5876663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549748" y="904061"/>
            <a:ext cx="1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1">
            <a:extLst>
              <a:ext uri="{FF2B5EF4-FFF2-40B4-BE49-F238E27FC236}">
                <a16:creationId xmlns:a16="http://schemas.microsoft.com/office/drawing/2014/main" id="{AC523703-45E9-42CF-9603-6A0CE7BB9CA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8729748" y="83364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6.2021</a:t>
            </a:r>
          </a:p>
        </p:txBody>
      </p:sp>
    </p:spTree>
    <p:extLst>
      <p:ext uri="{BB962C8B-B14F-4D97-AF65-F5344CB8AC3E}">
        <p14:creationId xmlns:p14="http://schemas.microsoft.com/office/powerpoint/2010/main" val="4266878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umulativní počet testů provedených přímo ve školách 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9F9BCD63-50E0-4D36-9A76-86F564E370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200" y="648748"/>
            <a:ext cx="73116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 -&gt; celkový přehled bez dělení dle věkových skupin žáků</a:t>
            </a:r>
            <a:endParaRPr lang="cs-CZ" sz="1400" i="1" dirty="0"/>
          </a:p>
        </p:txBody>
      </p:sp>
      <p:graphicFrame>
        <p:nvGraphicFramePr>
          <p:cNvPr id="10" name="Graf 16">
            <a:extLst>
              <a:ext uri="{FF2B5EF4-FFF2-40B4-BE49-F238E27FC236}">
                <a16:creationId xmlns:a16="http://schemas.microsoft.com/office/drawing/2014/main" id="{3A451FDC-44C3-49C1-9378-D6D6BC55CE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204337"/>
              </p:ext>
            </p:extLst>
          </p:nvPr>
        </p:nvGraphicFramePr>
        <p:xfrm>
          <a:off x="559687" y="1099751"/>
          <a:ext cx="11460862" cy="54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Obdélník 11">
            <a:extLst>
              <a:ext uri="{FF2B5EF4-FFF2-40B4-BE49-F238E27FC236}">
                <a16:creationId xmlns:a16="http://schemas.microsoft.com/office/drawing/2014/main" id="{4E11FDD2-C553-4CA5-95B2-1ADDA68989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-2018131" y="3390256"/>
            <a:ext cx="45865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srgbClr val="000000"/>
                </a:solidFill>
                <a:latin typeface="Calibri" panose="020F0502020204030204" pitchFamily="34" charset="0"/>
              </a:rPr>
              <a:t>K</a:t>
            </a: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umulativní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očet provedených testů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559DA486-5B4D-4CF3-B2A1-103CD2BC1928}"/>
              </a:ext>
            </a:extLst>
          </p:cNvPr>
          <p:cNvGrpSpPr/>
          <p:nvPr/>
        </p:nvGrpSpPr>
        <p:grpSpPr>
          <a:xfrm>
            <a:off x="1655097" y="1583258"/>
            <a:ext cx="2057077" cy="777412"/>
            <a:chOff x="1655097" y="1583258"/>
            <a:chExt cx="2057077" cy="777412"/>
          </a:xfrm>
        </p:grpSpPr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92C0E3F8-2447-4A01-AEF4-0B4F66FC9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475415" y="1583258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>
                  <a:solidFill>
                    <a:srgbClr val="000000"/>
                  </a:solidFill>
                </a:rPr>
                <a:t>Žáci</a:t>
              </a:r>
              <a:endParaRPr lang="cs-CZ" sz="1400" i="1" dirty="0"/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8E946716-5D4D-4616-9BBC-6ABF19E8568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2475415" y="2052893"/>
              <a:ext cx="12367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400" i="1" dirty="0"/>
                <a:t>Zaměstnanci</a:t>
              </a:r>
            </a:p>
          </p:txBody>
        </p: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802A874-F297-42E0-8C76-702FD285E353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655097" y="1746056"/>
              <a:ext cx="62055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816A37-A9CE-41EA-87A4-E63CEBE7D94E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>
            <a:xfrm>
              <a:off x="1655097" y="2206782"/>
              <a:ext cx="620559" cy="0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144159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4775" y="117608"/>
            <a:ext cx="11953875" cy="6191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Testy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prováděné přímo ve školách jsou školami </a:t>
            </a:r>
            <a:r>
              <a:rPr kumimoji="0" lang="cs-CZ" sz="28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agregovaně</a:t>
            </a:r>
            <a:r>
              <a:rPr kumimoji="0" lang="cs-CZ" sz="28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hlášeny do centrálního systému, který umožňuje sledovat vývoj pozitivních záchytů nákazy.</a:t>
            </a:r>
            <a:endParaRPr kumimoji="0" lang="cs-CZ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8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Z průběžných dat vyplývá,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 že testy prováděné ve školách neindikují </a:t>
            </a:r>
            <a:r>
              <a:rPr lang="cs-CZ" sz="2800" b="1" dirty="0" smtClean="0">
                <a:solidFill>
                  <a:srgbClr val="0000FF"/>
                </a:solidFill>
                <a:latin typeface="Calibri" panose="020F0502020204030204"/>
                <a:cs typeface="Arial" panose="020B0604020202020204" pitchFamily="34" charset="0"/>
              </a:rPr>
              <a:t>populačně významný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rizikový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vývoj či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eskalaci šíření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epidemie. Hodnoty </a:t>
            </a:r>
            <a:r>
              <a:rPr kumimoji="0" lang="cs-CZ" sz="28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v </a:t>
            </a:r>
            <a:r>
              <a:rPr kumimoji="0" lang="cs-CZ" sz="28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jednotlivých krajích různě v čase fluktuují, ale kontinuálně nerostou. </a:t>
            </a:r>
            <a:r>
              <a:rPr lang="cs-CZ" sz="2800" b="1" dirty="0">
                <a:solidFill>
                  <a:srgbClr val="0000FF"/>
                </a:solidFill>
              </a:rPr>
              <a:t>Počty záchytů ve školách přepočítané na 100 tis. AG testů jsou dlouhodobě zvýšené v krajích Libereckém a Zlínském. </a:t>
            </a:r>
            <a:endParaRPr lang="cs-CZ" sz="3200" b="1" dirty="0">
              <a:solidFill>
                <a:srgbClr val="0000FF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V </a:t>
            </a:r>
            <a:r>
              <a:rPr kumimoji="0" lang="cs-CZ" sz="2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ýdnu od 17.5. – 23.5. došlo 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k nárůstu relativního počtu nákaz </a:t>
            </a:r>
            <a:r>
              <a:rPr kumimoji="0" lang="cs-CZ" sz="2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zachycených přímo ve školách u 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žáků ve více krajích. </a:t>
            </a:r>
            <a:r>
              <a:rPr lang="cs-CZ" sz="2400" noProof="0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ato změna </a:t>
            </a:r>
            <a:r>
              <a:rPr kumimoji="0" lang="cs-CZ" sz="2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ouvisela 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 návratem dalších ročníků do škol po 17.5., a tedy může jít o „</a:t>
            </a:r>
            <a:r>
              <a:rPr kumimoji="0" lang="cs-CZ" sz="24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harvesting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“ nákaz zjištěných u nových kohort studentů vracejících se do škol. Nárůst se v žádném z regionů významně </a:t>
            </a:r>
            <a:r>
              <a:rPr kumimoji="0" lang="cs-CZ" sz="2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evymykal 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louhodobému průměru. </a:t>
            </a:r>
            <a:r>
              <a:rPr kumimoji="0" lang="cs-CZ" sz="2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V dalším období </a:t>
            </a:r>
            <a:r>
              <a:rPr kumimoji="0" lang="cs-CZ" sz="2400" i="0" u="none" strike="noStrike" kern="120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záchytovost</a:t>
            </a:r>
            <a:r>
              <a:rPr kumimoji="0" lang="cs-CZ" sz="2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testů opět klesla. 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55201" y="123437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55200" y="4070686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55200" y="637249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4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68184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35196" y="1893272"/>
            <a:ext cx="1475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žáci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16128966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48827" y="1902635"/>
            <a:ext cx="23182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 zaměstnanci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</a:t>
            </a:r>
            <a:endParaRPr lang="cs-CZ" sz="1400" i="1" dirty="0"/>
          </a:p>
        </p:txBody>
      </p:sp>
      <p:sp>
        <p:nvSpPr>
          <p:cNvPr id="2" name="Obdélník 1"/>
          <p:cNvSpPr/>
          <p:nvPr/>
        </p:nvSpPr>
        <p:spPr>
          <a:xfrm>
            <a:off x="1243240" y="1031009"/>
            <a:ext cx="107773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Celkové absolutní počty pozitivních záchy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34314" y="1639506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646254" y="1639506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9659569" y="5630645"/>
            <a:ext cx="265697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726119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(dle CFA) 12.4–4.6.2021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134075"/>
              </p:ext>
            </p:extLst>
          </p:nvPr>
        </p:nvGraphicFramePr>
        <p:xfrm>
          <a:off x="79269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6924" y="1893272"/>
            <a:ext cx="33810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žáků na 100 tis. testů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1997599-EE1B-4E00-A308-3277A4B2793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01518914"/>
              </p:ext>
            </p:extLst>
          </p:nvPr>
        </p:nvGraphicFramePr>
        <p:xfrm>
          <a:off x="6191250" y="220057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C6FFC02-0331-4ACA-97B7-FCBDEE6D0D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4039" y="1902635"/>
            <a:ext cx="3587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zitivních učitelů na 100 tis. testů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DC31C7CC-C883-48E9-A01B-7FA2F042887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28488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>
                <a:solidFill>
                  <a:srgbClr val="000000"/>
                </a:solidFill>
              </a:rPr>
              <a:t>Datum exportu: 5. 6. 2021 18:00</a:t>
            </a:r>
            <a:endParaRPr lang="cs-CZ" sz="1400" i="1" dirty="0"/>
          </a:p>
        </p:txBody>
      </p:sp>
      <p:sp>
        <p:nvSpPr>
          <p:cNvPr id="2" name="Obdélník 1"/>
          <p:cNvSpPr/>
          <p:nvPr>
            <p:custDataLst>
              <p:tags r:id="rId7"/>
            </p:custDataLst>
          </p:nvPr>
        </p:nvSpPr>
        <p:spPr>
          <a:xfrm>
            <a:off x="1173083" y="1058739"/>
            <a:ext cx="106747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Počty pozitivních záchytů na 100 tisíc testů nahlášených ze škol bez dělení na věkové kategorie</a:t>
            </a:r>
          </a:p>
          <a:p>
            <a:pPr algn="ctr"/>
            <a:r>
              <a:rPr lang="cs-CZ" b="1" dirty="0">
                <a:solidFill>
                  <a:srgbClr val="000000"/>
                </a:solidFill>
              </a:rPr>
              <a:t>Celkový souhrn za celé sledované období od 12.4. </a:t>
            </a:r>
            <a:endParaRPr lang="cs-CZ" b="1" dirty="0"/>
          </a:p>
        </p:txBody>
      </p:sp>
      <p:sp>
        <p:nvSpPr>
          <p:cNvPr id="3" name="Šipka dolů 2"/>
          <p:cNvSpPr/>
          <p:nvPr/>
        </p:nvSpPr>
        <p:spPr>
          <a:xfrm>
            <a:off x="3208998" y="1687128"/>
            <a:ext cx="650271" cy="2095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lů 11"/>
          <p:cNvSpPr/>
          <p:nvPr/>
        </p:nvSpPr>
        <p:spPr>
          <a:xfrm>
            <a:off x="9398604" y="1687128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4DE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10007960" y="5415201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</p:spTree>
    <p:extLst>
      <p:ext uri="{BB962C8B-B14F-4D97-AF65-F5344CB8AC3E}">
        <p14:creationId xmlns:p14="http://schemas.microsoft.com/office/powerpoint/2010/main" val="1931306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Testy ve školách – průběžné výsledky dle krajů (přepočet na 100tis. testů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DEE0DB2-2682-4D37-A37F-9BFB1E10B44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79462"/>
              </p:ext>
            </p:extLst>
          </p:nvPr>
        </p:nvGraphicFramePr>
        <p:xfrm>
          <a:off x="164994" y="706582"/>
          <a:ext cx="11584512" cy="5802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2416">
                  <a:extLst>
                    <a:ext uri="{9D8B030D-6E8A-4147-A177-3AD203B41FA5}">
                      <a16:colId xmlns:a16="http://schemas.microsoft.com/office/drawing/2014/main" val="187592025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692636823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273268959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385100031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152331077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217694765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80837993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239188116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011977694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317754862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63920331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182237422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402046036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2275635768"/>
                    </a:ext>
                  </a:extLst>
                </a:gridCol>
                <a:gridCol w="740864">
                  <a:extLst>
                    <a:ext uri="{9D8B030D-6E8A-4147-A177-3AD203B41FA5}">
                      <a16:colId xmlns:a16="http://schemas.microsoft.com/office/drawing/2014/main" val="1445118585"/>
                    </a:ext>
                  </a:extLst>
                </a:gridCol>
              </a:tblGrid>
              <a:tr h="429471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Počet pozitivních žáků na 100 000 testů*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Počet pozitivních zaměstnanců na 100 000 testů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2079627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1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3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Týden 3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Týden 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ýden 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005095"/>
                  </a:ext>
                </a:extLst>
              </a:tr>
              <a:tr h="429471">
                <a:tc>
                  <a:txBody>
                    <a:bodyPr/>
                    <a:lstStyle/>
                    <a:p>
                      <a:pPr algn="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12.4. – 18.4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19.4. – 25.4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26.4. – 2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3.5. – 9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12.4. – 18.4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effectLst/>
                          <a:latin typeface="+mj-lt"/>
                        </a:rPr>
                        <a:t>19.4. – 25.4.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26.4. – 2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+mj-lt"/>
                        </a:rPr>
                        <a:t>3.5. – 9.5.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5. – 16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5. – 23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5. – 30.5.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432302"/>
                  </a:ext>
                </a:extLst>
              </a:tr>
              <a:tr h="36945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Hlavní město Prah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498492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Středoče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137651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Jihoče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1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153328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Plzeň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7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8337266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Karlovar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8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337246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Úst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1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8249927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Liber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0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00003"/>
                  </a:ext>
                </a:extLst>
              </a:tr>
              <a:tr h="418527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Královéhrade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1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9770394"/>
                  </a:ext>
                </a:extLst>
              </a:tr>
              <a:tr h="307553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Pardubi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9861970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Kraj Vysočin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1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073110"/>
                  </a:ext>
                </a:extLst>
              </a:tr>
              <a:tr h="369458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Jihomorav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1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920904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Olomouc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3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8380585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Zlín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.2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650184"/>
                  </a:ext>
                </a:extLst>
              </a:tr>
              <a:tr h="418527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u="none" strike="noStrike" dirty="0">
                          <a:effectLst/>
                          <a:latin typeface="+mj-lt"/>
                        </a:rPr>
                        <a:t>Moravskoslezský kraj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1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1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4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947631"/>
                  </a:ext>
                </a:extLst>
              </a:tr>
              <a:tr h="27593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u="none" strike="noStrike" dirty="0">
                          <a:effectLst/>
                          <a:latin typeface="+mj-lt"/>
                        </a:rPr>
                        <a:t>Č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7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2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990863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9C1FABC3-68C3-430D-8101-D384F9E55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6419" y="6584345"/>
            <a:ext cx="11584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* Přímé výsledky všech testů v rámci testování ve školách bez ohledu na věk žáka (testy hlášené </a:t>
            </a:r>
            <a:r>
              <a:rPr lang="cs-CZ" sz="1400" i="1" dirty="0" err="1"/>
              <a:t>agregovaně</a:t>
            </a:r>
            <a:r>
              <a:rPr lang="cs-CZ" sz="1400" i="1" dirty="0"/>
              <a:t>, bez verifikace)</a:t>
            </a:r>
          </a:p>
        </p:txBody>
      </p:sp>
    </p:spTree>
    <p:extLst>
      <p:ext uri="{BB962C8B-B14F-4D97-AF65-F5344CB8AC3E}">
        <p14:creationId xmlns:p14="http://schemas.microsoft.com/office/powerpoint/2010/main" val="1711702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675" y="19052"/>
            <a:ext cx="12125325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ŽÁ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740D1DD-A50D-45F9-9BE1-0C9327F0DE5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62121" y="13579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D34076A-ECD6-43D2-B728-44346AB837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A08870A-F9CD-4231-B1E9-E0AA1559AFB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7273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58DD397-363F-4CDD-90B7-07538C7ADC0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56926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1A4C7DC-9C9C-4FF8-874C-7CD3A9531F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09898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D876EDA-77D6-4239-A272-75E57ACB734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205912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73A35FA-14A4-4602-A6DE-371FE0E2A16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362123" y="3558214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7A4A096-A1F8-4B95-AB0A-E8D49E9EE2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362124" y="5691813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pozitivních žáků </a:t>
            </a:r>
          </a:p>
          <a:p>
            <a:pPr algn="ctr"/>
            <a:r>
              <a:rPr lang="cs-CZ" sz="1200" dirty="0"/>
              <a:t>na 100 000 testů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08A122B-7B8C-408A-BF61-14C2E9903E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48413074-0481-4B1B-87D7-A1C60A1B4DE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7273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62BCBC7-8CED-42BA-913B-27FDAA8E98D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956926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B240316-4F03-4364-AB3A-B1647FD0F8A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09898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5F1A4D7-B6F1-40A6-B28D-29C13D54279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205912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08398CB-0D27-4564-85C4-F80B60787DAA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5A564B04-399B-49EB-B1AC-C24A27A65D5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7273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BCEF57A-2AFD-4177-88B2-6790A549F4E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956926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E15864A-B682-410D-92B7-37384580B81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7098982" y="490180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9896286" y="5193648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1D24A0B3-688B-4FEF-A735-7AC139F25397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4"/>
          <a:stretch>
            <a:fillRect/>
          </a:stretch>
        </p:blipFill>
        <p:spPr>
          <a:xfrm>
            <a:off x="851135" y="990595"/>
            <a:ext cx="2072820" cy="1676545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63CBB53F-398D-44EA-8B9F-38BAEC548478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/>
          <a:stretch>
            <a:fillRect/>
          </a:stretch>
        </p:blipFill>
        <p:spPr>
          <a:xfrm>
            <a:off x="2931235" y="974286"/>
            <a:ext cx="2048434" cy="1670449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E5B2CF57-D46A-4630-BDE1-28813079F5E1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/>
          <a:stretch>
            <a:fillRect/>
          </a:stretch>
        </p:blipFill>
        <p:spPr>
          <a:xfrm>
            <a:off x="4979669" y="980383"/>
            <a:ext cx="2078916" cy="1664352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FC74C9DA-81CB-416D-A739-385DB5B68BA7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/>
          <a:stretch>
            <a:fillRect/>
          </a:stretch>
        </p:blipFill>
        <p:spPr>
          <a:xfrm>
            <a:off x="7081328" y="970420"/>
            <a:ext cx="2048434" cy="1664352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43D53E90-7304-428D-9944-51719228C16E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9129762" y="958163"/>
            <a:ext cx="2078916" cy="1670449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E463F801-2565-4E30-A787-FE69DBE613BD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783348" y="3049994"/>
            <a:ext cx="2048434" cy="1670449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FD343BEC-BF22-4BCE-8624-BE170599C887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/>
          <a:stretch>
            <a:fillRect/>
          </a:stretch>
        </p:blipFill>
        <p:spPr>
          <a:xfrm>
            <a:off x="2832764" y="3053042"/>
            <a:ext cx="2078916" cy="1664352"/>
          </a:xfrm>
          <a:prstGeom prst="rect">
            <a:avLst/>
          </a:prstGeom>
        </p:spPr>
      </p:pic>
      <p:pic>
        <p:nvPicPr>
          <p:cNvPr id="21" name="Obrázek 20">
            <a:extLst>
              <a:ext uri="{FF2B5EF4-FFF2-40B4-BE49-F238E27FC236}">
                <a16:creationId xmlns:a16="http://schemas.microsoft.com/office/drawing/2014/main" id="{474188EA-51FA-451C-ABE5-3C2C2F4A4D20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4951095" y="3053042"/>
            <a:ext cx="2048434" cy="1664352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4094698A-8E5F-4D21-95AB-04ADFD583699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6999529" y="3034204"/>
            <a:ext cx="2078916" cy="1670449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847BD03B-933B-438F-A096-E97465D5D982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/>
          <a:stretch>
            <a:fillRect/>
          </a:stretch>
        </p:blipFill>
        <p:spPr>
          <a:xfrm>
            <a:off x="9121800" y="3050245"/>
            <a:ext cx="2048434" cy="1670449"/>
          </a:xfrm>
          <a:prstGeom prst="rect">
            <a:avLst/>
          </a:prstGeom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CA7E132B-3F5D-438F-8553-89634B8F2D0E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/>
          <a:stretch>
            <a:fillRect/>
          </a:stretch>
        </p:blipFill>
        <p:spPr>
          <a:xfrm>
            <a:off x="783348" y="5150390"/>
            <a:ext cx="2078916" cy="1664352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E3BD42FB-E250-4A13-A28E-BA9C9089C6F2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/>
          <a:stretch>
            <a:fillRect/>
          </a:stretch>
        </p:blipFill>
        <p:spPr>
          <a:xfrm>
            <a:off x="2884337" y="5150390"/>
            <a:ext cx="2048434" cy="1664352"/>
          </a:xfrm>
          <a:prstGeom prst="rect">
            <a:avLst/>
          </a:prstGeom>
        </p:spPr>
      </p:pic>
      <p:pic>
        <p:nvPicPr>
          <p:cNvPr id="35" name="Obrázek 34">
            <a:extLst>
              <a:ext uri="{FF2B5EF4-FFF2-40B4-BE49-F238E27FC236}">
                <a16:creationId xmlns:a16="http://schemas.microsoft.com/office/drawing/2014/main" id="{443EFBD2-FFB0-4B64-AC67-EF09D1B412EF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/>
          <a:stretch>
            <a:fillRect/>
          </a:stretch>
        </p:blipFill>
        <p:spPr>
          <a:xfrm>
            <a:off x="4974376" y="5164139"/>
            <a:ext cx="2078916" cy="1670449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id="{E8502401-7680-40BE-B7D5-77E1F7E9D826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/>
          <a:stretch>
            <a:fillRect/>
          </a:stretch>
        </p:blipFill>
        <p:spPr>
          <a:xfrm>
            <a:off x="7081328" y="5155425"/>
            <a:ext cx="2048434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525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59E55-C476-492A-96CC-E18EF895523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515" y="26817"/>
            <a:ext cx="11543560" cy="576000"/>
          </a:xfrm>
        </p:spPr>
        <p:txBody>
          <a:bodyPr/>
          <a:lstStyle/>
          <a:p>
            <a:pPr algn="ctr"/>
            <a:r>
              <a:rPr lang="cs-CZ" dirty="0"/>
              <a:t>Testy ve školách – průběžné výsledky dle krajů (přepočet na 100tis. testů): ZAMĚSTNANCI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7B7BF9C-A8C5-4F77-B27E-5BD853320F3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71295" y="1329361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27B17EE-36F1-4666-86D3-051B7FB7117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24852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HMP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3577065-92DE-4AD3-AAE1-0A135D1BBF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15589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SCK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231C5CE-498E-49AF-A82A-C9886886AD5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871201" y="643887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HC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A2DD5F9-45FE-41FB-A021-BD86799DBF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994207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LK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75450C0-57EE-4978-ABDE-87834EE795E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082087" y="635732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VK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BC49786-37BE-4610-AA3C-ACC6F822C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571297" y="3529638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0EA6A183-6D1C-4DDE-9F9B-5B86BDA78FE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571298" y="5663237"/>
            <a:ext cx="1906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čet </a:t>
            </a:r>
            <a:r>
              <a:rPr lang="cs-CZ" sz="1200" dirty="0" err="1"/>
              <a:t>pozit</a:t>
            </a:r>
            <a:r>
              <a:rPr lang="cs-CZ" sz="1200" dirty="0"/>
              <a:t>. </a:t>
            </a:r>
            <a:r>
              <a:rPr lang="cs-CZ" sz="1200" dirty="0" err="1"/>
              <a:t>zaměstnaců</a:t>
            </a:r>
            <a:r>
              <a:rPr lang="cs-CZ" sz="1200" dirty="0"/>
              <a:t> </a:t>
            </a:r>
          </a:p>
          <a:p>
            <a:r>
              <a:rPr lang="cs-CZ" sz="1200" dirty="0"/>
              <a:t>na 100 000 test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7971F6D-FEF1-419E-B425-FF15CA46767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4852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ULK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A2DBE2BB-85D3-4704-A4A5-E3220D1C3C2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815589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LB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9C0EE4D-F316-4BAD-B03E-D62778D4997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871201" y="2774990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KHK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0F1744-A848-4586-844E-1081D3232AF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994207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A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E3CB9CF-00ED-45DF-A0B6-0BE17F7F601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082087" y="2766835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VYS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09BAF25-CB6F-48CA-91CF-8809AB1F8DB4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24852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JM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3178B9A-BBF7-4D5C-9D13-F19FDF5D8D31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815589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OLK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8923BFE-A086-436F-A617-0727AB0D8A5F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871201" y="4909959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LK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64ADC04-3CCA-42FF-A4D4-86B50BCD5A19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6994207" y="4901804"/>
            <a:ext cx="122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MSK</a:t>
            </a:r>
          </a:p>
        </p:txBody>
      </p:sp>
      <p:sp>
        <p:nvSpPr>
          <p:cNvPr id="34" name="TextovéPole 33"/>
          <p:cNvSpPr txBox="1"/>
          <p:nvPr/>
        </p:nvSpPr>
        <p:spPr>
          <a:xfrm>
            <a:off x="9896286" y="5193648"/>
            <a:ext cx="21442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Podkladem pro grafy jsou agregované výsledky testů hlášené přímo ze škol. Jde tedy o průběžná data bez následných konfirmací. </a:t>
            </a:r>
          </a:p>
        </p:txBody>
      </p:sp>
      <p:pic>
        <p:nvPicPr>
          <p:cNvPr id="24" name="Obrázek 23">
            <a:extLst>
              <a:ext uri="{FF2B5EF4-FFF2-40B4-BE49-F238E27FC236}">
                <a16:creationId xmlns:a16="http://schemas.microsoft.com/office/drawing/2014/main" id="{38C6639F-CAAD-4CE8-9158-9B25BCDE938F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4"/>
          <a:stretch>
            <a:fillRect/>
          </a:stretch>
        </p:blipFill>
        <p:spPr>
          <a:xfrm>
            <a:off x="612571" y="869901"/>
            <a:ext cx="2048434" cy="1670449"/>
          </a:xfrm>
          <a:prstGeom prst="rect">
            <a:avLst/>
          </a:prstGeom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852E0097-A567-4A99-9A88-270C04A208E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/>
          <a:stretch>
            <a:fillRect/>
          </a:stretch>
        </p:blipFill>
        <p:spPr>
          <a:xfrm>
            <a:off x="2652828" y="869901"/>
            <a:ext cx="2072820" cy="1670449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63BF0347-B495-4678-9F77-10661A7521FF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6"/>
          <a:stretch>
            <a:fillRect/>
          </a:stretch>
        </p:blipFill>
        <p:spPr>
          <a:xfrm>
            <a:off x="4701259" y="869901"/>
            <a:ext cx="2048434" cy="1664352"/>
          </a:xfrm>
          <a:prstGeom prst="rect">
            <a:avLst/>
          </a:prstGeom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06A79B9C-9073-4801-AACC-0D00B7757565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7"/>
          <a:stretch>
            <a:fillRect/>
          </a:stretch>
        </p:blipFill>
        <p:spPr>
          <a:xfrm>
            <a:off x="6749693" y="863804"/>
            <a:ext cx="2072820" cy="1664352"/>
          </a:xfrm>
          <a:prstGeom prst="rect">
            <a:avLst/>
          </a:prstGeom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13AD1451-FD11-46F9-A3DE-3A967F8AFB2D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8"/>
          <a:stretch>
            <a:fillRect/>
          </a:stretch>
        </p:blipFill>
        <p:spPr>
          <a:xfrm>
            <a:off x="8791760" y="849601"/>
            <a:ext cx="2048434" cy="1670449"/>
          </a:xfrm>
          <a:prstGeom prst="rect">
            <a:avLst/>
          </a:prstGeom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85B7B676-3500-4B37-BA0E-D29F38195AA8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654364" y="3041071"/>
            <a:ext cx="2072820" cy="1670449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874CCF8E-1CBA-499E-BE17-F9454A801BF1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0"/>
          <a:stretch>
            <a:fillRect/>
          </a:stretch>
        </p:blipFill>
        <p:spPr>
          <a:xfrm>
            <a:off x="2702199" y="3044119"/>
            <a:ext cx="2048434" cy="1664352"/>
          </a:xfrm>
          <a:prstGeom prst="rect">
            <a:avLst/>
          </a:prstGeom>
        </p:spPr>
      </p:pic>
      <p:pic>
        <p:nvPicPr>
          <p:cNvPr id="31" name="Obrázek 30">
            <a:extLst>
              <a:ext uri="{FF2B5EF4-FFF2-40B4-BE49-F238E27FC236}">
                <a16:creationId xmlns:a16="http://schemas.microsoft.com/office/drawing/2014/main" id="{B7FCB3BD-EB40-4E57-BBDE-C46EF42DB7C9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4725648" y="3028633"/>
            <a:ext cx="2072820" cy="1664352"/>
          </a:xfrm>
          <a:prstGeom prst="rect">
            <a:avLst/>
          </a:prstGeom>
        </p:spPr>
      </p:pic>
      <p:pic>
        <p:nvPicPr>
          <p:cNvPr id="32" name="Obrázek 31">
            <a:extLst>
              <a:ext uri="{FF2B5EF4-FFF2-40B4-BE49-F238E27FC236}">
                <a16:creationId xmlns:a16="http://schemas.microsoft.com/office/drawing/2014/main" id="{C6AC9E8A-2DA6-41E9-86DD-40F75F5A1EB3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6774079" y="3041071"/>
            <a:ext cx="2048434" cy="1670449"/>
          </a:xfrm>
          <a:prstGeom prst="rect">
            <a:avLst/>
          </a:prstGeom>
        </p:spPr>
      </p:pic>
      <p:pic>
        <p:nvPicPr>
          <p:cNvPr id="33" name="Obrázek 32">
            <a:extLst>
              <a:ext uri="{FF2B5EF4-FFF2-40B4-BE49-F238E27FC236}">
                <a16:creationId xmlns:a16="http://schemas.microsoft.com/office/drawing/2014/main" id="{626F9764-B88C-47AA-AA99-3E648388F976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3"/>
          <a:stretch>
            <a:fillRect/>
          </a:stretch>
        </p:blipFill>
        <p:spPr>
          <a:xfrm>
            <a:off x="8859876" y="3038022"/>
            <a:ext cx="2072820" cy="1670449"/>
          </a:xfrm>
          <a:prstGeom prst="rect">
            <a:avLst/>
          </a:prstGeom>
        </p:spPr>
      </p:pic>
      <p:pic>
        <p:nvPicPr>
          <p:cNvPr id="39" name="Obrázek 38">
            <a:extLst>
              <a:ext uri="{FF2B5EF4-FFF2-40B4-BE49-F238E27FC236}">
                <a16:creationId xmlns:a16="http://schemas.microsoft.com/office/drawing/2014/main" id="{583663ED-DE5E-4A7D-9861-43563AD09F60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4"/>
          <a:stretch>
            <a:fillRect/>
          </a:stretch>
        </p:blipFill>
        <p:spPr>
          <a:xfrm>
            <a:off x="612571" y="5155923"/>
            <a:ext cx="2048434" cy="1664352"/>
          </a:xfrm>
          <a:prstGeom prst="rect">
            <a:avLst/>
          </a:prstGeom>
        </p:spPr>
      </p:pic>
      <p:pic>
        <p:nvPicPr>
          <p:cNvPr id="40" name="Obrázek 39">
            <a:extLst>
              <a:ext uri="{FF2B5EF4-FFF2-40B4-BE49-F238E27FC236}">
                <a16:creationId xmlns:a16="http://schemas.microsoft.com/office/drawing/2014/main" id="{5DF1DAB4-4378-45EA-9E30-88BC471319EE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5"/>
          <a:stretch>
            <a:fillRect/>
          </a:stretch>
        </p:blipFill>
        <p:spPr>
          <a:xfrm>
            <a:off x="2661005" y="5155923"/>
            <a:ext cx="2072820" cy="1664352"/>
          </a:xfrm>
          <a:prstGeom prst="rect">
            <a:avLst/>
          </a:prstGeom>
        </p:spPr>
      </p:pic>
      <p:pic>
        <p:nvPicPr>
          <p:cNvPr id="41" name="Obrázek 40">
            <a:extLst>
              <a:ext uri="{FF2B5EF4-FFF2-40B4-BE49-F238E27FC236}">
                <a16:creationId xmlns:a16="http://schemas.microsoft.com/office/drawing/2014/main" id="{2788FBBF-73AF-4885-8C7B-583048E2AD6A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/>
          <a:stretch>
            <a:fillRect/>
          </a:stretch>
        </p:blipFill>
        <p:spPr>
          <a:xfrm>
            <a:off x="4750815" y="5157555"/>
            <a:ext cx="2048434" cy="1670449"/>
          </a:xfrm>
          <a:prstGeom prst="rect">
            <a:avLst/>
          </a:prstGeom>
        </p:spPr>
      </p:pic>
      <p:pic>
        <p:nvPicPr>
          <p:cNvPr id="48" name="Obrázek 47">
            <a:extLst>
              <a:ext uri="{FF2B5EF4-FFF2-40B4-BE49-F238E27FC236}">
                <a16:creationId xmlns:a16="http://schemas.microsoft.com/office/drawing/2014/main" id="{1B36B314-0932-422D-A92B-9500DE38B834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7"/>
          <a:stretch>
            <a:fillRect/>
          </a:stretch>
        </p:blipFill>
        <p:spPr>
          <a:xfrm>
            <a:off x="6807932" y="5157555"/>
            <a:ext cx="2072820" cy="167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08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92a72d3433424d4497ed13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7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0</TotalTime>
  <Words>3219</Words>
  <Application>Microsoft Office PowerPoint</Application>
  <PresentationFormat>Širokoúhlá obrazovka</PresentationFormat>
  <Paragraphs>666</Paragraphs>
  <Slides>24</Slides>
  <Notes>12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4</vt:i4>
      </vt:variant>
    </vt:vector>
  </HeadingPairs>
  <TitlesOfParts>
    <vt:vector size="32" baseType="lpstr">
      <vt:lpstr>Arial</vt:lpstr>
      <vt:lpstr>Arial (Základní text)</vt:lpstr>
      <vt:lpstr>Calibri</vt:lpstr>
      <vt:lpstr>Calibri Light</vt:lpstr>
      <vt:lpstr>1_Motiv systému Office</vt:lpstr>
      <vt:lpstr>5_Motiv Office</vt:lpstr>
      <vt:lpstr>1_Motiv Office</vt:lpstr>
      <vt:lpstr>12_Motiv Office</vt:lpstr>
      <vt:lpstr>Datová a informační základna  pro management pandemie COVID-19</vt:lpstr>
      <vt:lpstr>Harmonogram otevírání školských zařízení v krajích ČR 2021</vt:lpstr>
      <vt:lpstr>Kumulativní počet testů provedených přímo ve školách </vt:lpstr>
      <vt:lpstr>Prezentace aplikace PowerPoint</vt:lpstr>
      <vt:lpstr>Testy ve školách – průběžné výsledky (dle CFA) 12.4–4.6.2021 </vt:lpstr>
      <vt:lpstr>Testy ve školách – průběžné výsledky (dle CFA) 12.4–4.6.2021 </vt:lpstr>
      <vt:lpstr>Testy ve školách – průběžné výsledky dle krajů (přepočet na 100tis. testů)</vt:lpstr>
      <vt:lpstr>Testy ve školách – průběžné výsledky dle krajů (přepočet na 100tis. testů): ŽÁCI</vt:lpstr>
      <vt:lpstr>Testy ve školách – průběžné výsledky dle krajů (přepočet na 100tis. testů): ZAMĚSTNANCI</vt:lpstr>
      <vt:lpstr>Testy ve školách – souhrnné hodnocení </vt:lpstr>
      <vt:lpstr>Datová a informační základna  pro management pandemie COVID-19</vt:lpstr>
      <vt:lpstr>Prezentace aplikace PowerPoint</vt:lpstr>
      <vt:lpstr>Testy hlášení ze škol – průběžné výsledky</vt:lpstr>
      <vt:lpstr>Populační záchyty nákazy u dětí různých věkových kategorií</vt:lpstr>
      <vt:lpstr>Výsledky testů u dětí 5-15 let mezi 12.4 – 4.6.2021</vt:lpstr>
      <vt:lpstr>Výsledky testů u dětí 5-11 let mezi 12.4 – 4.6.2021</vt:lpstr>
      <vt:lpstr>Výsledky testů u dětí 12-15 let mezi 12.4 – 2.6.2021</vt:lpstr>
      <vt:lpstr>Datová a informační základna  pro management pandemie COVID-19</vt:lpstr>
      <vt:lpstr>Počty COVID-19 pozitivních v ČR na 100 000 v populaci</vt:lpstr>
      <vt:lpstr>Počty testů na 100 tis. dětí v čase</vt:lpstr>
      <vt:lpstr>Počty nově COVID-19 pozitivních na 100 testů u dětí v čase</vt:lpstr>
      <vt:lpstr>Nové případy za 7 dní na 100 000 obyvatel: srovnání krajů k 4.6.: 0–4 let</vt:lpstr>
      <vt:lpstr>Nové případy za 7 dní na 100 000 obyvatel: srovnání krajů k 4.6.: 5–11 let</vt:lpstr>
      <vt:lpstr>Nové případy za 7 dní na 100 000 obyvatel: srovnání krajů k 4.6.: 12–19 l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3123</cp:revision>
  <dcterms:created xsi:type="dcterms:W3CDTF">2020-03-16T10:06:11Z</dcterms:created>
  <dcterms:modified xsi:type="dcterms:W3CDTF">2021-06-06T18:46:15Z</dcterms:modified>
</cp:coreProperties>
</file>